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50" r:id="rId5"/>
    <p:sldMasterId id="2147483652" r:id="rId6"/>
    <p:sldMasterId id="2147483656" r:id="rId7"/>
  </p:sldMasterIdLst>
  <p:notesMasterIdLst>
    <p:notesMasterId r:id="rId32"/>
  </p:notesMasterIdLst>
  <p:sldIdLst>
    <p:sldId id="256" r:id="rId8"/>
    <p:sldId id="320" r:id="rId9"/>
    <p:sldId id="322" r:id="rId10"/>
    <p:sldId id="321" r:id="rId11"/>
    <p:sldId id="323" r:id="rId12"/>
    <p:sldId id="325" r:id="rId13"/>
    <p:sldId id="355" r:id="rId14"/>
    <p:sldId id="335" r:id="rId15"/>
    <p:sldId id="326" r:id="rId16"/>
    <p:sldId id="333" r:id="rId17"/>
    <p:sldId id="331" r:id="rId18"/>
    <p:sldId id="356" r:id="rId19"/>
    <p:sldId id="329" r:id="rId20"/>
    <p:sldId id="274" r:id="rId21"/>
    <p:sldId id="341" r:id="rId22"/>
    <p:sldId id="338" r:id="rId23"/>
    <p:sldId id="357" r:id="rId24"/>
    <p:sldId id="358" r:id="rId25"/>
    <p:sldId id="359" r:id="rId26"/>
    <p:sldId id="360" r:id="rId27"/>
    <p:sldId id="339" r:id="rId28"/>
    <p:sldId id="345" r:id="rId29"/>
    <p:sldId id="361" r:id="rId30"/>
    <p:sldId id="261" r:id="rId31"/>
  </p:sldIdLst>
  <p:sldSz cx="12192000" cy="6858000"/>
  <p:notesSz cx="6858000" cy="9144000"/>
  <p:custDataLst>
    <p:tags r:id="rId3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1248D1B-A47A-B7C1-24D9-7127110DF0D0}" name="Guest User" initials="GU" userId="S::urn:spo:anon#5c1cd7b39cb30a75ca1cea0fb2ba435992d6c6a6b484349a9ca7505025227c67::" providerId="AD"/>
  <p188:author id="{7ECFBFCA-DD88-6422-7FAF-B5B8619DEB83}" name="Ewen Trafford" initials="EPT" userId="Ewen Trafford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ces Meek" initials="FM" lastIdx="2" clrIdx="0">
    <p:extLst>
      <p:ext uri="{19B8F6BF-5375-455C-9EA6-DF929625EA0E}">
        <p15:presenceInfo xmlns:p15="http://schemas.microsoft.com/office/powerpoint/2012/main" userId="S::F.Meek@nutrition.org.uk::f3af35cc-3229-46e1-af36-3525661cfbd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9F3F"/>
    <a:srgbClr val="000A1E"/>
    <a:srgbClr val="00153E"/>
    <a:srgbClr val="FCE3C2"/>
    <a:srgbClr val="F9D4B6"/>
    <a:srgbClr val="EDAD80"/>
    <a:srgbClr val="E46B2F"/>
    <a:srgbClr val="ED6B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F3150CC-9483-442A-A72B-9575A503DCC6}" v="15" dt="2022-08-30T10:41:48.72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868" y="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microsoft.com/office/2016/11/relationships/changesInfo" Target="changesInfos/changesInfo1.xml"/><Relationship Id="rId21" Type="http://schemas.openxmlformats.org/officeDocument/2006/relationships/slide" Target="slides/slide14.xml"/><Relationship Id="rId34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presProps" Target="presProps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ags" Target="tags/tag1.xml"/><Relationship Id="rId38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wen Trafford" userId="e520b4bf-a196-48b7-bc10-b1590a457daa" providerId="ADAL" clId="{7F3150CC-9483-442A-A72B-9575A503DCC6}"/>
    <pc:docChg chg="undo custSel modSld">
      <pc:chgData name="Ewen Trafford" userId="e520b4bf-a196-48b7-bc10-b1590a457daa" providerId="ADAL" clId="{7F3150CC-9483-442A-A72B-9575A503DCC6}" dt="2022-08-30T10:41:58.159" v="66" actId="242"/>
      <pc:docMkLst>
        <pc:docMk/>
      </pc:docMkLst>
      <pc:sldChg chg="modSp mod">
        <pc:chgData name="Ewen Trafford" userId="e520b4bf-a196-48b7-bc10-b1590a457daa" providerId="ADAL" clId="{7F3150CC-9483-442A-A72B-9575A503DCC6}" dt="2022-08-24T13:00:45.612" v="4" actId="20577"/>
        <pc:sldMkLst>
          <pc:docMk/>
          <pc:sldMk cId="2302005153" sldId="261"/>
        </pc:sldMkLst>
        <pc:spChg chg="mod">
          <ac:chgData name="Ewen Trafford" userId="e520b4bf-a196-48b7-bc10-b1590a457daa" providerId="ADAL" clId="{7F3150CC-9483-442A-A72B-9575A503DCC6}" dt="2022-08-24T13:00:45.612" v="4" actId="20577"/>
          <ac:spMkLst>
            <pc:docMk/>
            <pc:sldMk cId="2302005153" sldId="261"/>
            <ac:spMk id="3" creationId="{00000000-0000-0000-0000-000000000000}"/>
          </ac:spMkLst>
        </pc:spChg>
      </pc:sldChg>
      <pc:sldChg chg="modSp mod">
        <pc:chgData name="Ewen Trafford" userId="e520b4bf-a196-48b7-bc10-b1590a457daa" providerId="ADAL" clId="{7F3150CC-9483-442A-A72B-9575A503DCC6}" dt="2022-08-25T11:56:26.238" v="39" actId="1582"/>
        <pc:sldMkLst>
          <pc:docMk/>
          <pc:sldMk cId="1577086551" sldId="325"/>
        </pc:sldMkLst>
        <pc:picChg chg="mod">
          <ac:chgData name="Ewen Trafford" userId="e520b4bf-a196-48b7-bc10-b1590a457daa" providerId="ADAL" clId="{7F3150CC-9483-442A-A72B-9575A503DCC6}" dt="2022-08-25T11:56:26.238" v="39" actId="1582"/>
          <ac:picMkLst>
            <pc:docMk/>
            <pc:sldMk cId="1577086551" sldId="325"/>
            <ac:picMk id="6" creationId="{B5DA4EED-71FE-4FFF-9D8D-9F8B7293DC09}"/>
          </ac:picMkLst>
        </pc:picChg>
      </pc:sldChg>
      <pc:sldChg chg="delSp modSp mod">
        <pc:chgData name="Ewen Trafford" userId="e520b4bf-a196-48b7-bc10-b1590a457daa" providerId="ADAL" clId="{7F3150CC-9483-442A-A72B-9575A503DCC6}" dt="2022-08-30T10:41:58.159" v="66" actId="242"/>
        <pc:sldMkLst>
          <pc:docMk/>
          <pc:sldMk cId="3594171061" sldId="331"/>
        </pc:sldMkLst>
        <pc:spChg chg="del">
          <ac:chgData name="Ewen Trafford" userId="e520b4bf-a196-48b7-bc10-b1590a457daa" providerId="ADAL" clId="{7F3150CC-9483-442A-A72B-9575A503DCC6}" dt="2022-08-30T10:39:45.607" v="52" actId="478"/>
          <ac:spMkLst>
            <pc:docMk/>
            <pc:sldMk cId="3594171061" sldId="331"/>
            <ac:spMk id="3" creationId="{F125752D-9A62-EC8F-B592-EBFBCA644C0A}"/>
          </ac:spMkLst>
        </pc:spChg>
        <pc:graphicFrameChg chg="mod modGraphic">
          <ac:chgData name="Ewen Trafford" userId="e520b4bf-a196-48b7-bc10-b1590a457daa" providerId="ADAL" clId="{7F3150CC-9483-442A-A72B-9575A503DCC6}" dt="2022-08-30T10:41:58.159" v="66" actId="242"/>
          <ac:graphicFrameMkLst>
            <pc:docMk/>
            <pc:sldMk cId="3594171061" sldId="331"/>
            <ac:graphicFrameMk id="4" creationId="{852C40F4-3A0C-2C57-5C1A-53EF072895F3}"/>
          </ac:graphicFrameMkLst>
        </pc:graphicFrameChg>
      </pc:sldChg>
      <pc:sldChg chg="addSp modSp mod">
        <pc:chgData name="Ewen Trafford" userId="e520b4bf-a196-48b7-bc10-b1590a457daa" providerId="ADAL" clId="{7F3150CC-9483-442A-A72B-9575A503DCC6}" dt="2022-08-24T14:52:12.386" v="8" actId="20577"/>
        <pc:sldMkLst>
          <pc:docMk/>
          <pc:sldMk cId="1628781729" sldId="345"/>
        </pc:sldMkLst>
        <pc:spChg chg="mod">
          <ac:chgData name="Ewen Trafford" userId="e520b4bf-a196-48b7-bc10-b1590a457daa" providerId="ADAL" clId="{7F3150CC-9483-442A-A72B-9575A503DCC6}" dt="2022-08-24T14:52:12.386" v="8" actId="20577"/>
          <ac:spMkLst>
            <pc:docMk/>
            <pc:sldMk cId="1628781729" sldId="345"/>
            <ac:spMk id="3" creationId="{8CAB9D22-B491-9AFA-4800-DD173F69AF8D}"/>
          </ac:spMkLst>
        </pc:spChg>
        <pc:spChg chg="add mod">
          <ac:chgData name="Ewen Trafford" userId="e520b4bf-a196-48b7-bc10-b1590a457daa" providerId="ADAL" clId="{7F3150CC-9483-442A-A72B-9575A503DCC6}" dt="2022-08-24T12:56:24.150" v="0"/>
          <ac:spMkLst>
            <pc:docMk/>
            <pc:sldMk cId="1628781729" sldId="345"/>
            <ac:spMk id="4" creationId="{50A057EF-05C3-0286-F82D-DF0B2A292845}"/>
          </ac:spMkLst>
        </pc:spChg>
      </pc:sldChg>
      <pc:sldChg chg="modSp mod">
        <pc:chgData name="Ewen Trafford" userId="e520b4bf-a196-48b7-bc10-b1590a457daa" providerId="ADAL" clId="{7F3150CC-9483-442A-A72B-9575A503DCC6}" dt="2022-08-30T10:41:53.922" v="65" actId="242"/>
        <pc:sldMkLst>
          <pc:docMk/>
          <pc:sldMk cId="2227979570" sldId="356"/>
        </pc:sldMkLst>
        <pc:graphicFrameChg chg="mod modGraphic">
          <ac:chgData name="Ewen Trafford" userId="e520b4bf-a196-48b7-bc10-b1590a457daa" providerId="ADAL" clId="{7F3150CC-9483-442A-A72B-9575A503DCC6}" dt="2022-08-30T10:41:53.922" v="65" actId="242"/>
          <ac:graphicFrameMkLst>
            <pc:docMk/>
            <pc:sldMk cId="2227979570" sldId="356"/>
            <ac:graphicFrameMk id="4" creationId="{852C40F4-3A0C-2C57-5C1A-53EF072895F3}"/>
          </ac:graphicFrameMkLst>
        </pc:graphicFrameChg>
      </pc:sldChg>
      <pc:sldChg chg="addSp modSp mod">
        <pc:chgData name="Ewen Trafford" userId="e520b4bf-a196-48b7-bc10-b1590a457daa" providerId="ADAL" clId="{7F3150CC-9483-442A-A72B-9575A503DCC6}" dt="2022-08-25T11:57:31.013" v="51" actId="1076"/>
        <pc:sldMkLst>
          <pc:docMk/>
          <pc:sldMk cId="1234017442" sldId="357"/>
        </pc:sldMkLst>
        <pc:picChg chg="add mod">
          <ac:chgData name="Ewen Trafford" userId="e520b4bf-a196-48b7-bc10-b1590a457daa" providerId="ADAL" clId="{7F3150CC-9483-442A-A72B-9575A503DCC6}" dt="2022-08-25T11:57:31.013" v="51" actId="1076"/>
          <ac:picMkLst>
            <pc:docMk/>
            <pc:sldMk cId="1234017442" sldId="357"/>
            <ac:picMk id="5" creationId="{B8F62BA1-A2D3-A695-6134-8ECA6E41F122}"/>
          </ac:picMkLst>
        </pc:picChg>
      </pc:sldChg>
      <pc:sldChg chg="addSp modSp mod delCm modCm">
        <pc:chgData name="Ewen Trafford" userId="e520b4bf-a196-48b7-bc10-b1590a457daa" providerId="ADAL" clId="{7F3150CC-9483-442A-A72B-9575A503DCC6}" dt="2022-08-25T11:56:49.677" v="41"/>
        <pc:sldMkLst>
          <pc:docMk/>
          <pc:sldMk cId="656388443" sldId="361"/>
        </pc:sldMkLst>
        <pc:spChg chg="mod">
          <ac:chgData name="Ewen Trafford" userId="e520b4bf-a196-48b7-bc10-b1590a457daa" providerId="ADAL" clId="{7F3150CC-9483-442A-A72B-9575A503DCC6}" dt="2022-08-25T11:56:46.349" v="40" actId="20577"/>
          <ac:spMkLst>
            <pc:docMk/>
            <pc:sldMk cId="656388443" sldId="361"/>
            <ac:spMk id="3" creationId="{8CAB9D22-B491-9AFA-4800-DD173F69AF8D}"/>
          </ac:spMkLst>
        </pc:spChg>
        <pc:spChg chg="add mod">
          <ac:chgData name="Ewen Trafford" userId="e520b4bf-a196-48b7-bc10-b1590a457daa" providerId="ADAL" clId="{7F3150CC-9483-442A-A72B-9575A503DCC6}" dt="2022-08-24T15:07:44.412" v="16" actId="1076"/>
          <ac:spMkLst>
            <pc:docMk/>
            <pc:sldMk cId="656388443" sldId="361"/>
            <ac:spMk id="5" creationId="{7D88D32D-D2F0-2CBF-9339-E85E1A600763}"/>
          </ac:spMkLst>
        </pc:spChg>
        <pc:picChg chg="add mod">
          <ac:chgData name="Ewen Trafford" userId="e520b4bf-a196-48b7-bc10-b1590a457daa" providerId="ADAL" clId="{7F3150CC-9483-442A-A72B-9575A503DCC6}" dt="2022-08-24T15:07:52.220" v="17" actId="1076"/>
          <ac:picMkLst>
            <pc:docMk/>
            <pc:sldMk cId="656388443" sldId="361"/>
            <ac:picMk id="4" creationId="{358D5D1B-1CE3-4B97-6FA3-884B7FE5E94E}"/>
          </ac:picMkLst>
        </pc:picChg>
        <pc:picChg chg="add mod">
          <ac:chgData name="Ewen Trafford" userId="e520b4bf-a196-48b7-bc10-b1590a457daa" providerId="ADAL" clId="{7F3150CC-9483-442A-A72B-9575A503DCC6}" dt="2022-08-24T15:07:54.477" v="18" actId="1076"/>
          <ac:picMkLst>
            <pc:docMk/>
            <pc:sldMk cId="656388443" sldId="361"/>
            <ac:picMk id="6" creationId="{16AA8EFD-83CF-A254-D427-99A33A0807BE}"/>
          </ac:picMkLst>
        </pc:picChg>
      </pc:sldChg>
    </pc:docChg>
  </pc:docChgLst>
  <pc:docChgLst>
    <pc:chgData name="Frances Meek" userId="f3af35cc-3229-46e1-af36-3525661cfbd3" providerId="ADAL" clId="{56A7C0C8-4883-41CC-B105-A5B252764DF6}"/>
    <pc:docChg chg="custSel modSld">
      <pc:chgData name="Frances Meek" userId="f3af35cc-3229-46e1-af36-3525661cfbd3" providerId="ADAL" clId="{56A7C0C8-4883-41CC-B105-A5B252764DF6}" dt="2022-08-30T11:49:11.839" v="81" actId="20577"/>
      <pc:docMkLst>
        <pc:docMk/>
      </pc:docMkLst>
      <pc:sldChg chg="modSp mod">
        <pc:chgData name="Frances Meek" userId="f3af35cc-3229-46e1-af36-3525661cfbd3" providerId="ADAL" clId="{56A7C0C8-4883-41CC-B105-A5B252764DF6}" dt="2022-08-30T11:49:11.839" v="81" actId="20577"/>
        <pc:sldMkLst>
          <pc:docMk/>
          <pc:sldMk cId="2302005153" sldId="261"/>
        </pc:sldMkLst>
        <pc:spChg chg="mod">
          <ac:chgData name="Frances Meek" userId="f3af35cc-3229-46e1-af36-3525661cfbd3" providerId="ADAL" clId="{56A7C0C8-4883-41CC-B105-A5B252764DF6}" dt="2022-08-30T11:49:11.839" v="81" actId="20577"/>
          <ac:spMkLst>
            <pc:docMk/>
            <pc:sldMk cId="2302005153" sldId="261"/>
            <ac:spMk id="3" creationId="{00000000-0000-0000-0000-000000000000}"/>
          </ac:spMkLst>
        </pc:spChg>
      </pc:sldChg>
      <pc:sldChg chg="modSp mod">
        <pc:chgData name="Frances Meek" userId="f3af35cc-3229-46e1-af36-3525661cfbd3" providerId="ADAL" clId="{56A7C0C8-4883-41CC-B105-A5B252764DF6}" dt="2022-08-30T11:44:53.805" v="32" actId="20577"/>
        <pc:sldMkLst>
          <pc:docMk/>
          <pc:sldMk cId="3993973292" sldId="274"/>
        </pc:sldMkLst>
        <pc:spChg chg="mod">
          <ac:chgData name="Frances Meek" userId="f3af35cc-3229-46e1-af36-3525661cfbd3" providerId="ADAL" clId="{56A7C0C8-4883-41CC-B105-A5B252764DF6}" dt="2022-08-30T11:44:53.805" v="32" actId="20577"/>
          <ac:spMkLst>
            <pc:docMk/>
            <pc:sldMk cId="3993973292" sldId="274"/>
            <ac:spMk id="6" creationId="{A705A842-B67A-1091-B43C-016955CEB56E}"/>
          </ac:spMkLst>
        </pc:spChg>
      </pc:sldChg>
      <pc:sldChg chg="modSp mod">
        <pc:chgData name="Frances Meek" userId="f3af35cc-3229-46e1-af36-3525661cfbd3" providerId="ADAL" clId="{56A7C0C8-4883-41CC-B105-A5B252764DF6}" dt="2022-08-30T11:38:18.241" v="8" actId="20577"/>
        <pc:sldMkLst>
          <pc:docMk/>
          <pc:sldMk cId="1195441026" sldId="321"/>
        </pc:sldMkLst>
        <pc:spChg chg="mod">
          <ac:chgData name="Frances Meek" userId="f3af35cc-3229-46e1-af36-3525661cfbd3" providerId="ADAL" clId="{56A7C0C8-4883-41CC-B105-A5B252764DF6}" dt="2022-08-30T11:38:18.241" v="8" actId="20577"/>
          <ac:spMkLst>
            <pc:docMk/>
            <pc:sldMk cId="1195441026" sldId="321"/>
            <ac:spMk id="3" creationId="{11F1639A-5BD0-7C4B-622B-50E9B9EA0EE0}"/>
          </ac:spMkLst>
        </pc:spChg>
      </pc:sldChg>
      <pc:sldChg chg="modSp mod">
        <pc:chgData name="Frances Meek" userId="f3af35cc-3229-46e1-af36-3525661cfbd3" providerId="ADAL" clId="{56A7C0C8-4883-41CC-B105-A5B252764DF6}" dt="2022-08-30T11:42:34.104" v="17" actId="20577"/>
        <pc:sldMkLst>
          <pc:docMk/>
          <pc:sldMk cId="1577086551" sldId="325"/>
        </pc:sldMkLst>
        <pc:spChg chg="mod">
          <ac:chgData name="Frances Meek" userId="f3af35cc-3229-46e1-af36-3525661cfbd3" providerId="ADAL" clId="{56A7C0C8-4883-41CC-B105-A5B252764DF6}" dt="2022-08-30T11:42:34.104" v="17" actId="20577"/>
          <ac:spMkLst>
            <pc:docMk/>
            <pc:sldMk cId="1577086551" sldId="325"/>
            <ac:spMk id="3" creationId="{25ECF5C8-B231-B34A-F7D8-C96CD9FECAD2}"/>
          </ac:spMkLst>
        </pc:spChg>
      </pc:sldChg>
      <pc:sldChg chg="modSp mod">
        <pc:chgData name="Frances Meek" userId="f3af35cc-3229-46e1-af36-3525661cfbd3" providerId="ADAL" clId="{56A7C0C8-4883-41CC-B105-A5B252764DF6}" dt="2022-08-30T11:43:56.992" v="18" actId="255"/>
        <pc:sldMkLst>
          <pc:docMk/>
          <pc:sldMk cId="3594171061" sldId="331"/>
        </pc:sldMkLst>
        <pc:graphicFrameChg chg="modGraphic">
          <ac:chgData name="Frances Meek" userId="f3af35cc-3229-46e1-af36-3525661cfbd3" providerId="ADAL" clId="{56A7C0C8-4883-41CC-B105-A5B252764DF6}" dt="2022-08-30T11:43:56.992" v="18" actId="255"/>
          <ac:graphicFrameMkLst>
            <pc:docMk/>
            <pc:sldMk cId="3594171061" sldId="331"/>
            <ac:graphicFrameMk id="4" creationId="{852C40F4-3A0C-2C57-5C1A-53EF072895F3}"/>
          </ac:graphicFrameMkLst>
        </pc:graphicFrameChg>
      </pc:sldChg>
      <pc:sldChg chg="modSp mod">
        <pc:chgData name="Frances Meek" userId="f3af35cc-3229-46e1-af36-3525661cfbd3" providerId="ADAL" clId="{56A7C0C8-4883-41CC-B105-A5B252764DF6}" dt="2022-08-30T11:46:03.472" v="47" actId="20577"/>
        <pc:sldMkLst>
          <pc:docMk/>
          <pc:sldMk cId="2070260529" sldId="339"/>
        </pc:sldMkLst>
        <pc:spChg chg="mod">
          <ac:chgData name="Frances Meek" userId="f3af35cc-3229-46e1-af36-3525661cfbd3" providerId="ADAL" clId="{56A7C0C8-4883-41CC-B105-A5B252764DF6}" dt="2022-08-30T11:46:03.472" v="47" actId="20577"/>
          <ac:spMkLst>
            <pc:docMk/>
            <pc:sldMk cId="2070260529" sldId="339"/>
            <ac:spMk id="3" creationId="{82844BDE-4E6A-0B46-4D93-2FCABBF069E7}"/>
          </ac:spMkLst>
        </pc:spChg>
      </pc:sldChg>
      <pc:sldChg chg="modSp mod">
        <pc:chgData name="Frances Meek" userId="f3af35cc-3229-46e1-af36-3525661cfbd3" providerId="ADAL" clId="{56A7C0C8-4883-41CC-B105-A5B252764DF6}" dt="2022-08-30T11:46:31.047" v="71" actId="1076"/>
        <pc:sldMkLst>
          <pc:docMk/>
          <pc:sldMk cId="1628781729" sldId="345"/>
        </pc:sldMkLst>
        <pc:spChg chg="mod">
          <ac:chgData name="Frances Meek" userId="f3af35cc-3229-46e1-af36-3525661cfbd3" providerId="ADAL" clId="{56A7C0C8-4883-41CC-B105-A5B252764DF6}" dt="2022-08-30T11:46:31.047" v="71" actId="1076"/>
          <ac:spMkLst>
            <pc:docMk/>
            <pc:sldMk cId="1628781729" sldId="345"/>
            <ac:spMk id="3" creationId="{8CAB9D22-B491-9AFA-4800-DD173F69AF8D}"/>
          </ac:spMkLst>
        </pc:spChg>
      </pc:sldChg>
      <pc:sldChg chg="delSp modSp mod">
        <pc:chgData name="Frances Meek" userId="f3af35cc-3229-46e1-af36-3525661cfbd3" providerId="ADAL" clId="{56A7C0C8-4883-41CC-B105-A5B252764DF6}" dt="2022-08-30T11:44:20.460" v="22" actId="478"/>
        <pc:sldMkLst>
          <pc:docMk/>
          <pc:sldMk cId="2227979570" sldId="356"/>
        </pc:sldMkLst>
        <pc:spChg chg="del">
          <ac:chgData name="Frances Meek" userId="f3af35cc-3229-46e1-af36-3525661cfbd3" providerId="ADAL" clId="{56A7C0C8-4883-41CC-B105-A5B252764DF6}" dt="2022-08-30T11:44:20.460" v="22" actId="478"/>
          <ac:spMkLst>
            <pc:docMk/>
            <pc:sldMk cId="2227979570" sldId="356"/>
            <ac:spMk id="3" creationId="{F125752D-9A62-EC8F-B592-EBFBCA644C0A}"/>
          </ac:spMkLst>
        </pc:spChg>
        <pc:graphicFrameChg chg="modGraphic">
          <ac:chgData name="Frances Meek" userId="f3af35cc-3229-46e1-af36-3525661cfbd3" providerId="ADAL" clId="{56A7C0C8-4883-41CC-B105-A5B252764DF6}" dt="2022-08-30T11:44:13.883" v="21" actId="21"/>
          <ac:graphicFrameMkLst>
            <pc:docMk/>
            <pc:sldMk cId="2227979570" sldId="356"/>
            <ac:graphicFrameMk id="4" creationId="{852C40F4-3A0C-2C57-5C1A-53EF072895F3}"/>
          </ac:graphicFrameMkLst>
        </pc:graphicFrameChg>
      </pc:sldChg>
      <pc:sldChg chg="modSp mod">
        <pc:chgData name="Frances Meek" userId="f3af35cc-3229-46e1-af36-3525661cfbd3" providerId="ADAL" clId="{56A7C0C8-4883-41CC-B105-A5B252764DF6}" dt="2022-08-30T11:45:25.573" v="41" actId="20577"/>
        <pc:sldMkLst>
          <pc:docMk/>
          <pc:sldMk cId="1234017442" sldId="357"/>
        </pc:sldMkLst>
        <pc:spChg chg="mod">
          <ac:chgData name="Frances Meek" userId="f3af35cc-3229-46e1-af36-3525661cfbd3" providerId="ADAL" clId="{56A7C0C8-4883-41CC-B105-A5B252764DF6}" dt="2022-08-30T11:45:25.573" v="41" actId="20577"/>
          <ac:spMkLst>
            <pc:docMk/>
            <pc:sldMk cId="1234017442" sldId="357"/>
            <ac:spMk id="3" creationId="{82844BDE-4E6A-0B46-4D93-2FCABBF069E7}"/>
          </ac:spMkLst>
        </pc:spChg>
      </pc:sldChg>
      <pc:sldChg chg="modSp mod">
        <pc:chgData name="Frances Meek" userId="f3af35cc-3229-46e1-af36-3525661cfbd3" providerId="ADAL" clId="{56A7C0C8-4883-41CC-B105-A5B252764DF6}" dt="2022-08-30T11:48:10.902" v="74" actId="14"/>
        <pc:sldMkLst>
          <pc:docMk/>
          <pc:sldMk cId="656388443" sldId="361"/>
        </pc:sldMkLst>
        <pc:spChg chg="mod">
          <ac:chgData name="Frances Meek" userId="f3af35cc-3229-46e1-af36-3525661cfbd3" providerId="ADAL" clId="{56A7C0C8-4883-41CC-B105-A5B252764DF6}" dt="2022-08-30T11:48:10.902" v="74" actId="14"/>
          <ac:spMkLst>
            <pc:docMk/>
            <pc:sldMk cId="656388443" sldId="361"/>
            <ac:spMk id="3" creationId="{8CAB9D22-B491-9AFA-4800-DD173F69AF8D}"/>
          </ac:spMkLst>
        </pc:spChg>
      </pc:sldChg>
    </pc:docChg>
  </pc:docChgLst>
  <pc:docChgLst>
    <pc:chgData name="Ewen Trafford" userId="e520b4bf-a196-48b7-bc10-b1590a457daa" providerId="ADAL" clId="{FAE4F14E-C27C-4B84-87D7-6E24C646B925}"/>
    <pc:docChg chg="undo custSel addSld delSld modSld sldOrd">
      <pc:chgData name="Ewen Trafford" userId="e520b4bf-a196-48b7-bc10-b1590a457daa" providerId="ADAL" clId="{FAE4F14E-C27C-4B84-87D7-6E24C646B925}" dt="2022-07-26T12:56:27.844" v="9916"/>
      <pc:docMkLst>
        <pc:docMk/>
      </pc:docMkLst>
      <pc:sldChg chg="modSp mod">
        <pc:chgData name="Ewen Trafford" userId="e520b4bf-a196-48b7-bc10-b1590a457daa" providerId="ADAL" clId="{FAE4F14E-C27C-4B84-87D7-6E24C646B925}" dt="2022-07-20T09:22:58.511" v="15" actId="20577"/>
        <pc:sldMkLst>
          <pc:docMk/>
          <pc:sldMk cId="1955166399" sldId="256"/>
        </pc:sldMkLst>
        <pc:spChg chg="mod">
          <ac:chgData name="Ewen Trafford" userId="e520b4bf-a196-48b7-bc10-b1590a457daa" providerId="ADAL" clId="{FAE4F14E-C27C-4B84-87D7-6E24C646B925}" dt="2022-07-20T09:22:58.511" v="15" actId="20577"/>
          <ac:spMkLst>
            <pc:docMk/>
            <pc:sldMk cId="1955166399" sldId="256"/>
            <ac:spMk id="2" creationId="{00000000-0000-0000-0000-000000000000}"/>
          </ac:spMkLst>
        </pc:spChg>
      </pc:sldChg>
      <pc:sldChg chg="modSp mod">
        <pc:chgData name="Ewen Trafford" userId="e520b4bf-a196-48b7-bc10-b1590a457daa" providerId="ADAL" clId="{FAE4F14E-C27C-4B84-87D7-6E24C646B925}" dt="2022-07-20T09:26:22.302" v="135" actId="20577"/>
        <pc:sldMkLst>
          <pc:docMk/>
          <pc:sldMk cId="2302005153" sldId="261"/>
        </pc:sldMkLst>
        <pc:spChg chg="mod">
          <ac:chgData name="Ewen Trafford" userId="e520b4bf-a196-48b7-bc10-b1590a457daa" providerId="ADAL" clId="{FAE4F14E-C27C-4B84-87D7-6E24C646B925}" dt="2022-07-20T09:26:22.302" v="135" actId="20577"/>
          <ac:spMkLst>
            <pc:docMk/>
            <pc:sldMk cId="2302005153" sldId="261"/>
            <ac:spMk id="2" creationId="{00000000-0000-0000-0000-000000000000}"/>
          </ac:spMkLst>
        </pc:spChg>
      </pc:sldChg>
      <pc:sldChg chg="delSp modSp mod">
        <pc:chgData name="Ewen Trafford" userId="e520b4bf-a196-48b7-bc10-b1590a457daa" providerId="ADAL" clId="{FAE4F14E-C27C-4B84-87D7-6E24C646B925}" dt="2022-07-20T15:14:15.737" v="5376" actId="20577"/>
        <pc:sldMkLst>
          <pc:docMk/>
          <pc:sldMk cId="3993973292" sldId="274"/>
        </pc:sldMkLst>
        <pc:spChg chg="mod">
          <ac:chgData name="Ewen Trafford" userId="e520b4bf-a196-48b7-bc10-b1590a457daa" providerId="ADAL" clId="{FAE4F14E-C27C-4B84-87D7-6E24C646B925}" dt="2022-07-20T09:23:55.502" v="59" actId="20577"/>
          <ac:spMkLst>
            <pc:docMk/>
            <pc:sldMk cId="3993973292" sldId="274"/>
            <ac:spMk id="2" creationId="{00000000-0000-0000-0000-000000000000}"/>
          </ac:spMkLst>
        </pc:spChg>
        <pc:spChg chg="del">
          <ac:chgData name="Ewen Trafford" userId="e520b4bf-a196-48b7-bc10-b1590a457daa" providerId="ADAL" clId="{FAE4F14E-C27C-4B84-87D7-6E24C646B925}" dt="2022-07-20T15:08:10.361" v="5080" actId="478"/>
          <ac:spMkLst>
            <pc:docMk/>
            <pc:sldMk cId="3993973292" sldId="274"/>
            <ac:spMk id="4" creationId="{0E2C25B3-6ACC-4992-A8BB-6CAB4A259EA0}"/>
          </ac:spMkLst>
        </pc:spChg>
        <pc:spChg chg="mod">
          <ac:chgData name="Ewen Trafford" userId="e520b4bf-a196-48b7-bc10-b1590a457daa" providerId="ADAL" clId="{FAE4F14E-C27C-4B84-87D7-6E24C646B925}" dt="2022-07-20T15:14:15.737" v="5376" actId="20577"/>
          <ac:spMkLst>
            <pc:docMk/>
            <pc:sldMk cId="3993973292" sldId="274"/>
            <ac:spMk id="6" creationId="{A705A842-B67A-1091-B43C-016955CEB56E}"/>
          </ac:spMkLst>
        </pc:spChg>
      </pc:sldChg>
      <pc:sldChg chg="addSp delSp modSp mod">
        <pc:chgData name="Ewen Trafford" userId="e520b4bf-a196-48b7-bc10-b1590a457daa" providerId="ADAL" clId="{FAE4F14E-C27C-4B84-87D7-6E24C646B925}" dt="2022-07-20T09:37:09.617" v="793" actId="20577"/>
        <pc:sldMkLst>
          <pc:docMk/>
          <pc:sldMk cId="2831772784" sldId="320"/>
        </pc:sldMkLst>
        <pc:spChg chg="mod">
          <ac:chgData name="Ewen Trafford" userId="e520b4bf-a196-48b7-bc10-b1590a457daa" providerId="ADAL" clId="{FAE4F14E-C27C-4B84-87D7-6E24C646B925}" dt="2022-07-20T09:37:09.617" v="793" actId="20577"/>
          <ac:spMkLst>
            <pc:docMk/>
            <pc:sldMk cId="2831772784" sldId="320"/>
            <ac:spMk id="3" creationId="{B08F7FAB-511F-7730-95EA-CDCD60827684}"/>
          </ac:spMkLst>
        </pc:spChg>
        <pc:picChg chg="del">
          <ac:chgData name="Ewen Trafford" userId="e520b4bf-a196-48b7-bc10-b1590a457daa" providerId="ADAL" clId="{FAE4F14E-C27C-4B84-87D7-6E24C646B925}" dt="2022-07-20T09:23:02.401" v="16" actId="478"/>
          <ac:picMkLst>
            <pc:docMk/>
            <pc:sldMk cId="2831772784" sldId="320"/>
            <ac:picMk id="4" creationId="{266E6B86-D6B0-43F9-AAD5-786D4B0275C5}"/>
          </ac:picMkLst>
        </pc:picChg>
        <pc:picChg chg="add mod">
          <ac:chgData name="Ewen Trafford" userId="e520b4bf-a196-48b7-bc10-b1590a457daa" providerId="ADAL" clId="{FAE4F14E-C27C-4B84-87D7-6E24C646B925}" dt="2022-07-20T09:36:33.927" v="638" actId="1076"/>
          <ac:picMkLst>
            <pc:docMk/>
            <pc:sldMk cId="2831772784" sldId="320"/>
            <ac:picMk id="8194" creationId="{86C749E3-951D-48B7-AC0D-E75B5DA10A49}"/>
          </ac:picMkLst>
        </pc:picChg>
      </pc:sldChg>
      <pc:sldChg chg="addSp delSp modSp mod">
        <pc:chgData name="Ewen Trafford" userId="e520b4bf-a196-48b7-bc10-b1590a457daa" providerId="ADAL" clId="{FAE4F14E-C27C-4B84-87D7-6E24C646B925}" dt="2022-07-20T14:58:45.895" v="4868" actId="1076"/>
        <pc:sldMkLst>
          <pc:docMk/>
          <pc:sldMk cId="1195441026" sldId="321"/>
        </pc:sldMkLst>
        <pc:spChg chg="mod">
          <ac:chgData name="Ewen Trafford" userId="e520b4bf-a196-48b7-bc10-b1590a457daa" providerId="ADAL" clId="{FAE4F14E-C27C-4B84-87D7-6E24C646B925}" dt="2022-07-20T09:28:21.005" v="167" actId="20577"/>
          <ac:spMkLst>
            <pc:docMk/>
            <pc:sldMk cId="1195441026" sldId="321"/>
            <ac:spMk id="2" creationId="{8C8F01D9-49FA-6C29-3674-01A422037CD5}"/>
          </ac:spMkLst>
        </pc:spChg>
        <pc:spChg chg="mod">
          <ac:chgData name="Ewen Trafford" userId="e520b4bf-a196-48b7-bc10-b1590a457daa" providerId="ADAL" clId="{FAE4F14E-C27C-4B84-87D7-6E24C646B925}" dt="2022-07-20T09:44:01.750" v="1756" actId="14100"/>
          <ac:spMkLst>
            <pc:docMk/>
            <pc:sldMk cId="1195441026" sldId="321"/>
            <ac:spMk id="3" creationId="{11F1639A-5BD0-7C4B-622B-50E9B9EA0EE0}"/>
          </ac:spMkLst>
        </pc:spChg>
        <pc:picChg chg="del">
          <ac:chgData name="Ewen Trafford" userId="e520b4bf-a196-48b7-bc10-b1590a457daa" providerId="ADAL" clId="{FAE4F14E-C27C-4B84-87D7-6E24C646B925}" dt="2022-07-20T09:23:03.557" v="17" actId="478"/>
          <ac:picMkLst>
            <pc:docMk/>
            <pc:sldMk cId="1195441026" sldId="321"/>
            <ac:picMk id="5" creationId="{1D67924C-E146-384E-9245-F1AFE23699DB}"/>
          </ac:picMkLst>
        </pc:picChg>
        <pc:picChg chg="del">
          <ac:chgData name="Ewen Trafford" userId="e520b4bf-a196-48b7-bc10-b1590a457daa" providerId="ADAL" clId="{FAE4F14E-C27C-4B84-87D7-6E24C646B925}" dt="2022-07-20T09:23:04.061" v="18" actId="478"/>
          <ac:picMkLst>
            <pc:docMk/>
            <pc:sldMk cId="1195441026" sldId="321"/>
            <ac:picMk id="6" creationId="{D40977C9-0B84-92AF-7B25-021B4DD5C9DB}"/>
          </ac:picMkLst>
        </pc:picChg>
        <pc:picChg chg="add mod">
          <ac:chgData name="Ewen Trafford" userId="e520b4bf-a196-48b7-bc10-b1590a457daa" providerId="ADAL" clId="{FAE4F14E-C27C-4B84-87D7-6E24C646B925}" dt="2022-07-20T14:58:45.895" v="4868" actId="1076"/>
          <ac:picMkLst>
            <pc:docMk/>
            <pc:sldMk cId="1195441026" sldId="321"/>
            <ac:picMk id="7" creationId="{AD589BE0-4090-487A-9A6C-B1F411F45B18}"/>
          </ac:picMkLst>
        </pc:picChg>
      </pc:sldChg>
      <pc:sldChg chg="addSp delSp modSp mod ord">
        <pc:chgData name="Ewen Trafford" userId="e520b4bf-a196-48b7-bc10-b1590a457daa" providerId="ADAL" clId="{FAE4F14E-C27C-4B84-87D7-6E24C646B925}" dt="2022-07-20T09:41:12.178" v="1308" actId="20577"/>
        <pc:sldMkLst>
          <pc:docMk/>
          <pc:sldMk cId="2939149858" sldId="322"/>
        </pc:sldMkLst>
        <pc:spChg chg="mod">
          <ac:chgData name="Ewen Trafford" userId="e520b4bf-a196-48b7-bc10-b1590a457daa" providerId="ADAL" clId="{FAE4F14E-C27C-4B84-87D7-6E24C646B925}" dt="2022-07-20T09:26:37.205" v="136"/>
          <ac:spMkLst>
            <pc:docMk/>
            <pc:sldMk cId="2939149858" sldId="322"/>
            <ac:spMk id="2" creationId="{C0656FD1-4489-F55F-822B-620888FD55A9}"/>
          </ac:spMkLst>
        </pc:spChg>
        <pc:spChg chg="mod">
          <ac:chgData name="Ewen Trafford" userId="e520b4bf-a196-48b7-bc10-b1590a457daa" providerId="ADAL" clId="{FAE4F14E-C27C-4B84-87D7-6E24C646B925}" dt="2022-07-20T09:37:20.437" v="798" actId="113"/>
          <ac:spMkLst>
            <pc:docMk/>
            <pc:sldMk cId="2939149858" sldId="322"/>
            <ac:spMk id="3" creationId="{BE28E501-5A4E-D1A3-A7D8-65D153A748C4}"/>
          </ac:spMkLst>
        </pc:spChg>
        <pc:spChg chg="add mod">
          <ac:chgData name="Ewen Trafford" userId="e520b4bf-a196-48b7-bc10-b1590a457daa" providerId="ADAL" clId="{FAE4F14E-C27C-4B84-87D7-6E24C646B925}" dt="2022-07-20T09:41:12.178" v="1308" actId="20577"/>
          <ac:spMkLst>
            <pc:docMk/>
            <pc:sldMk cId="2939149858" sldId="322"/>
            <ac:spMk id="6" creationId="{37F21B2D-0E3B-42DC-85A8-4511EB39D461}"/>
          </ac:spMkLst>
        </pc:spChg>
        <pc:picChg chg="del">
          <ac:chgData name="Ewen Trafford" userId="e520b4bf-a196-48b7-bc10-b1590a457daa" providerId="ADAL" clId="{FAE4F14E-C27C-4B84-87D7-6E24C646B925}" dt="2022-07-20T09:23:05.840" v="20" actId="478"/>
          <ac:picMkLst>
            <pc:docMk/>
            <pc:sldMk cId="2939149858" sldId="322"/>
            <ac:picMk id="4" creationId="{2320BE9A-E343-A8AC-9545-61AB76A6E6A8}"/>
          </ac:picMkLst>
        </pc:picChg>
        <pc:picChg chg="del">
          <ac:chgData name="Ewen Trafford" userId="e520b4bf-a196-48b7-bc10-b1590a457daa" providerId="ADAL" clId="{FAE4F14E-C27C-4B84-87D7-6E24C646B925}" dt="2022-07-20T09:23:05.400" v="19" actId="478"/>
          <ac:picMkLst>
            <pc:docMk/>
            <pc:sldMk cId="2939149858" sldId="322"/>
            <ac:picMk id="5" creationId="{7140EEAC-D98D-96D7-8F04-8B43C494531F}"/>
          </ac:picMkLst>
        </pc:picChg>
        <pc:picChg chg="add mod">
          <ac:chgData name="Ewen Trafford" userId="e520b4bf-a196-48b7-bc10-b1590a457daa" providerId="ADAL" clId="{FAE4F14E-C27C-4B84-87D7-6E24C646B925}" dt="2022-07-20T09:37:50.569" v="807" actId="1076"/>
          <ac:picMkLst>
            <pc:docMk/>
            <pc:sldMk cId="2939149858" sldId="322"/>
            <ac:picMk id="9218" creationId="{D3E4E176-8338-46ED-93E7-BF00525E8562}"/>
          </ac:picMkLst>
        </pc:picChg>
      </pc:sldChg>
      <pc:sldChg chg="addSp delSp modSp mod">
        <pc:chgData name="Ewen Trafford" userId="e520b4bf-a196-48b7-bc10-b1590a457daa" providerId="ADAL" clId="{FAE4F14E-C27C-4B84-87D7-6E24C646B925}" dt="2022-07-20T09:43:36.036" v="1714" actId="20577"/>
        <pc:sldMkLst>
          <pc:docMk/>
          <pc:sldMk cId="1855309931" sldId="323"/>
        </pc:sldMkLst>
        <pc:spChg chg="mod">
          <ac:chgData name="Ewen Trafford" userId="e520b4bf-a196-48b7-bc10-b1590a457daa" providerId="ADAL" clId="{FAE4F14E-C27C-4B84-87D7-6E24C646B925}" dt="2022-07-20T09:41:26.439" v="1320" actId="20577"/>
          <ac:spMkLst>
            <pc:docMk/>
            <pc:sldMk cId="1855309931" sldId="323"/>
            <ac:spMk id="2" creationId="{CF40B81A-2823-8056-34AE-B3308191DF5B}"/>
          </ac:spMkLst>
        </pc:spChg>
        <pc:spChg chg="mod">
          <ac:chgData name="Ewen Trafford" userId="e520b4bf-a196-48b7-bc10-b1590a457daa" providerId="ADAL" clId="{FAE4F14E-C27C-4B84-87D7-6E24C646B925}" dt="2022-07-20T09:43:36.036" v="1714" actId="20577"/>
          <ac:spMkLst>
            <pc:docMk/>
            <pc:sldMk cId="1855309931" sldId="323"/>
            <ac:spMk id="3" creationId="{53B4885A-37FC-0B67-2285-D9A9B9DC8C09}"/>
          </ac:spMkLst>
        </pc:spChg>
        <pc:spChg chg="del">
          <ac:chgData name="Ewen Trafford" userId="e520b4bf-a196-48b7-bc10-b1590a457daa" providerId="ADAL" clId="{FAE4F14E-C27C-4B84-87D7-6E24C646B925}" dt="2022-07-20T09:23:09.541" v="23" actId="478"/>
          <ac:spMkLst>
            <pc:docMk/>
            <pc:sldMk cId="1855309931" sldId="323"/>
            <ac:spMk id="7" creationId="{1AFEF03E-522B-B4FE-2D07-18CFD5CBADE7}"/>
          </ac:spMkLst>
        </pc:spChg>
        <pc:picChg chg="del">
          <ac:chgData name="Ewen Trafford" userId="e520b4bf-a196-48b7-bc10-b1590a457daa" providerId="ADAL" clId="{FAE4F14E-C27C-4B84-87D7-6E24C646B925}" dt="2022-07-20T09:23:07.641" v="22" actId="478"/>
          <ac:picMkLst>
            <pc:docMk/>
            <pc:sldMk cId="1855309931" sldId="323"/>
            <ac:picMk id="5" creationId="{02D3BF99-D455-9CDD-8934-3BE81F53533F}"/>
          </ac:picMkLst>
        </pc:picChg>
        <pc:picChg chg="del">
          <ac:chgData name="Ewen Trafford" userId="e520b4bf-a196-48b7-bc10-b1590a457daa" providerId="ADAL" clId="{FAE4F14E-C27C-4B84-87D7-6E24C646B925}" dt="2022-07-20T09:23:07.181" v="21" actId="478"/>
          <ac:picMkLst>
            <pc:docMk/>
            <pc:sldMk cId="1855309931" sldId="323"/>
            <ac:picMk id="6" creationId="{4D21DF80-DAFE-2DF9-0B67-7DC830836C82}"/>
          </ac:picMkLst>
        </pc:picChg>
        <pc:picChg chg="add mod">
          <ac:chgData name="Ewen Trafford" userId="e520b4bf-a196-48b7-bc10-b1590a457daa" providerId="ADAL" clId="{FAE4F14E-C27C-4B84-87D7-6E24C646B925}" dt="2022-07-20T09:42:28.279" v="1435" actId="1076"/>
          <ac:picMkLst>
            <pc:docMk/>
            <pc:sldMk cId="1855309931" sldId="323"/>
            <ac:picMk id="10242" creationId="{4E8EE500-503D-43C4-A91C-2151635CF21C}"/>
          </ac:picMkLst>
        </pc:picChg>
      </pc:sldChg>
      <pc:sldChg chg="addSp delSp modSp mod">
        <pc:chgData name="Ewen Trafford" userId="e520b4bf-a196-48b7-bc10-b1590a457daa" providerId="ADAL" clId="{FAE4F14E-C27C-4B84-87D7-6E24C646B925}" dt="2022-07-20T15:15:13.836" v="5407" actId="20577"/>
        <pc:sldMkLst>
          <pc:docMk/>
          <pc:sldMk cId="1577086551" sldId="325"/>
        </pc:sldMkLst>
        <pc:spChg chg="mod">
          <ac:chgData name="Ewen Trafford" userId="e520b4bf-a196-48b7-bc10-b1590a457daa" providerId="ADAL" clId="{FAE4F14E-C27C-4B84-87D7-6E24C646B925}" dt="2022-07-20T09:50:25.192" v="1762" actId="20577"/>
          <ac:spMkLst>
            <pc:docMk/>
            <pc:sldMk cId="1577086551" sldId="325"/>
            <ac:spMk id="2" creationId="{6CFEA9C0-24EE-EB05-6ED1-A7679B590EE1}"/>
          </ac:spMkLst>
        </pc:spChg>
        <pc:spChg chg="mod">
          <ac:chgData name="Ewen Trafford" userId="e520b4bf-a196-48b7-bc10-b1590a457daa" providerId="ADAL" clId="{FAE4F14E-C27C-4B84-87D7-6E24C646B925}" dt="2022-07-20T15:15:13.836" v="5407" actId="20577"/>
          <ac:spMkLst>
            <pc:docMk/>
            <pc:sldMk cId="1577086551" sldId="325"/>
            <ac:spMk id="3" creationId="{25ECF5C8-B231-B34A-F7D8-C96CD9FECAD2}"/>
          </ac:spMkLst>
        </pc:spChg>
        <pc:spChg chg="del">
          <ac:chgData name="Ewen Trafford" userId="e520b4bf-a196-48b7-bc10-b1590a457daa" providerId="ADAL" clId="{FAE4F14E-C27C-4B84-87D7-6E24C646B925}" dt="2022-07-20T09:23:14.001" v="25" actId="478"/>
          <ac:spMkLst>
            <pc:docMk/>
            <pc:sldMk cId="1577086551" sldId="325"/>
            <ac:spMk id="7" creationId="{F3322B2B-D7B9-430C-F868-28B0CC1B6741}"/>
          </ac:spMkLst>
        </pc:spChg>
        <pc:picChg chg="del">
          <ac:chgData name="Ewen Trafford" userId="e520b4bf-a196-48b7-bc10-b1590a457daa" providerId="ADAL" clId="{FAE4F14E-C27C-4B84-87D7-6E24C646B925}" dt="2022-07-20T09:23:12.572" v="24" actId="478"/>
          <ac:picMkLst>
            <pc:docMk/>
            <pc:sldMk cId="1577086551" sldId="325"/>
            <ac:picMk id="5" creationId="{5A213300-F078-AC3D-1810-9E18A127F545}"/>
          </ac:picMkLst>
        </pc:picChg>
        <pc:picChg chg="add mod">
          <ac:chgData name="Ewen Trafford" userId="e520b4bf-a196-48b7-bc10-b1590a457daa" providerId="ADAL" clId="{FAE4F14E-C27C-4B84-87D7-6E24C646B925}" dt="2022-07-20T14:59:47.376" v="4874" actId="1076"/>
          <ac:picMkLst>
            <pc:docMk/>
            <pc:sldMk cId="1577086551" sldId="325"/>
            <ac:picMk id="6" creationId="{B5DA4EED-71FE-4FFF-9D8D-9F8B7293DC09}"/>
          </ac:picMkLst>
        </pc:picChg>
      </pc:sldChg>
      <pc:sldChg chg="addSp delSp modSp mod">
        <pc:chgData name="Ewen Trafford" userId="e520b4bf-a196-48b7-bc10-b1590a457daa" providerId="ADAL" clId="{FAE4F14E-C27C-4B84-87D7-6E24C646B925}" dt="2022-07-20T15:14:28.162" v="5380" actId="20577"/>
        <pc:sldMkLst>
          <pc:docMk/>
          <pc:sldMk cId="2100916119" sldId="326"/>
        </pc:sldMkLst>
        <pc:spChg chg="mod">
          <ac:chgData name="Ewen Trafford" userId="e520b4bf-a196-48b7-bc10-b1590a457daa" providerId="ADAL" clId="{FAE4F14E-C27C-4B84-87D7-6E24C646B925}" dt="2022-07-20T15:14:28.162" v="5380" actId="20577"/>
          <ac:spMkLst>
            <pc:docMk/>
            <pc:sldMk cId="2100916119" sldId="326"/>
            <ac:spMk id="2" creationId="{FAD0F388-1AED-A299-E614-C6A84905AD5C}"/>
          </ac:spMkLst>
        </pc:spChg>
        <pc:spChg chg="mod">
          <ac:chgData name="Ewen Trafford" userId="e520b4bf-a196-48b7-bc10-b1590a457daa" providerId="ADAL" clId="{FAE4F14E-C27C-4B84-87D7-6E24C646B925}" dt="2022-07-20T11:59:45.045" v="3765" actId="20577"/>
          <ac:spMkLst>
            <pc:docMk/>
            <pc:sldMk cId="2100916119" sldId="326"/>
            <ac:spMk id="3" creationId="{2C665282-E317-C20B-46E2-966005E09A87}"/>
          </ac:spMkLst>
        </pc:spChg>
        <pc:spChg chg="add mod">
          <ac:chgData name="Ewen Trafford" userId="e520b4bf-a196-48b7-bc10-b1590a457daa" providerId="ADAL" clId="{FAE4F14E-C27C-4B84-87D7-6E24C646B925}" dt="2022-07-20T10:17:52.718" v="3503" actId="1076"/>
          <ac:spMkLst>
            <pc:docMk/>
            <pc:sldMk cId="2100916119" sldId="326"/>
            <ac:spMk id="9" creationId="{6BD147FE-DBCC-4E61-85D1-762F2A23080D}"/>
          </ac:spMkLst>
        </pc:spChg>
        <pc:picChg chg="del">
          <ac:chgData name="Ewen Trafford" userId="e520b4bf-a196-48b7-bc10-b1590a457daa" providerId="ADAL" clId="{FAE4F14E-C27C-4B84-87D7-6E24C646B925}" dt="2022-07-20T09:23:19.330" v="29" actId="478"/>
          <ac:picMkLst>
            <pc:docMk/>
            <pc:sldMk cId="2100916119" sldId="326"/>
            <ac:picMk id="4" creationId="{61CB6161-61EA-9ABC-6922-40D38C300152}"/>
          </ac:picMkLst>
        </pc:picChg>
        <pc:picChg chg="add mod">
          <ac:chgData name="Ewen Trafford" userId="e520b4bf-a196-48b7-bc10-b1590a457daa" providerId="ADAL" clId="{FAE4F14E-C27C-4B84-87D7-6E24C646B925}" dt="2022-07-20T10:16:33.512" v="3370"/>
          <ac:picMkLst>
            <pc:docMk/>
            <pc:sldMk cId="2100916119" sldId="326"/>
            <ac:picMk id="6" creationId="{20716ED3-36CE-4322-91E3-11220169F1F6}"/>
          </ac:picMkLst>
        </pc:picChg>
        <pc:picChg chg="del">
          <ac:chgData name="Ewen Trafford" userId="e520b4bf-a196-48b7-bc10-b1590a457daa" providerId="ADAL" clId="{FAE4F14E-C27C-4B84-87D7-6E24C646B925}" dt="2022-07-20T09:23:18.942" v="28" actId="478"/>
          <ac:picMkLst>
            <pc:docMk/>
            <pc:sldMk cId="2100916119" sldId="326"/>
            <ac:picMk id="8" creationId="{325B5A34-3789-9371-6C56-95DDBFCAA5DE}"/>
          </ac:picMkLst>
        </pc:picChg>
        <pc:cxnChg chg="add mod">
          <ac:chgData name="Ewen Trafford" userId="e520b4bf-a196-48b7-bc10-b1590a457daa" providerId="ADAL" clId="{FAE4F14E-C27C-4B84-87D7-6E24C646B925}" dt="2022-07-20T10:17:57.888" v="3504" actId="14100"/>
          <ac:cxnSpMkLst>
            <pc:docMk/>
            <pc:sldMk cId="2100916119" sldId="326"/>
            <ac:cxnSpMk id="7" creationId="{BD1FF4A3-7732-4698-8925-8CED1E8B3556}"/>
          </ac:cxnSpMkLst>
        </pc:cxnChg>
      </pc:sldChg>
      <pc:sldChg chg="delSp del mod">
        <pc:chgData name="Ewen Trafford" userId="e520b4bf-a196-48b7-bc10-b1590a457daa" providerId="ADAL" clId="{FAE4F14E-C27C-4B84-87D7-6E24C646B925}" dt="2022-07-20T09:53:05.622" v="2176" actId="47"/>
        <pc:sldMkLst>
          <pc:docMk/>
          <pc:sldMk cId="2039023108" sldId="327"/>
        </pc:sldMkLst>
        <pc:picChg chg="del">
          <ac:chgData name="Ewen Trafford" userId="e520b4bf-a196-48b7-bc10-b1590a457daa" providerId="ADAL" clId="{FAE4F14E-C27C-4B84-87D7-6E24C646B925}" dt="2022-07-20T09:23:24.762" v="33" actId="478"/>
          <ac:picMkLst>
            <pc:docMk/>
            <pc:sldMk cId="2039023108" sldId="327"/>
            <ac:picMk id="4" creationId="{4B9D2D8E-FB45-73C2-A641-146E099160E6}"/>
          </ac:picMkLst>
        </pc:picChg>
      </pc:sldChg>
      <pc:sldChg chg="addSp delSp add del mod">
        <pc:chgData name="Ewen Trafford" userId="e520b4bf-a196-48b7-bc10-b1590a457daa" providerId="ADAL" clId="{FAE4F14E-C27C-4B84-87D7-6E24C646B925}" dt="2022-07-20T13:28:55.941" v="4133" actId="47"/>
        <pc:sldMkLst>
          <pc:docMk/>
          <pc:sldMk cId="153349484" sldId="330"/>
        </pc:sldMkLst>
        <pc:picChg chg="add del">
          <ac:chgData name="Ewen Trafford" userId="e520b4bf-a196-48b7-bc10-b1590a457daa" providerId="ADAL" clId="{FAE4F14E-C27C-4B84-87D7-6E24C646B925}" dt="2022-07-20T09:23:37.483" v="38" actId="478"/>
          <ac:picMkLst>
            <pc:docMk/>
            <pc:sldMk cId="153349484" sldId="330"/>
            <ac:picMk id="5" creationId="{A372EA35-DA00-C5AE-AEED-B18E342AE263}"/>
          </ac:picMkLst>
        </pc:picChg>
        <pc:picChg chg="del">
          <ac:chgData name="Ewen Trafford" userId="e520b4bf-a196-48b7-bc10-b1590a457daa" providerId="ADAL" clId="{FAE4F14E-C27C-4B84-87D7-6E24C646B925}" dt="2022-07-20T13:28:37.833" v="4130" actId="478"/>
          <ac:picMkLst>
            <pc:docMk/>
            <pc:sldMk cId="153349484" sldId="330"/>
            <ac:picMk id="12" creationId="{07CEC015-C920-8907-7F05-DA2C64A16579}"/>
          </ac:picMkLst>
        </pc:picChg>
      </pc:sldChg>
      <pc:sldChg chg="addSp delSp modSp mod delCm">
        <pc:chgData name="Ewen Trafford" userId="e520b4bf-a196-48b7-bc10-b1590a457daa" providerId="ADAL" clId="{FAE4F14E-C27C-4B84-87D7-6E24C646B925}" dt="2022-07-20T14:56:04.522" v="4734" actId="13926"/>
        <pc:sldMkLst>
          <pc:docMk/>
          <pc:sldMk cId="3594171061" sldId="331"/>
        </pc:sldMkLst>
        <pc:spChg chg="add del">
          <ac:chgData name="Ewen Trafford" userId="e520b4bf-a196-48b7-bc10-b1590a457daa" providerId="ADAL" clId="{FAE4F14E-C27C-4B84-87D7-6E24C646B925}" dt="2022-07-20T14:48:58.474" v="4245" actId="478"/>
          <ac:spMkLst>
            <pc:docMk/>
            <pc:sldMk cId="3594171061" sldId="331"/>
            <ac:spMk id="3" creationId="{F125752D-9A62-EC8F-B592-EBFBCA644C0A}"/>
          </ac:spMkLst>
        </pc:spChg>
        <pc:graphicFrameChg chg="mod modGraphic">
          <ac:chgData name="Ewen Trafford" userId="e520b4bf-a196-48b7-bc10-b1590a457daa" providerId="ADAL" clId="{FAE4F14E-C27C-4B84-87D7-6E24C646B925}" dt="2022-07-20T14:56:04.522" v="4734" actId="13926"/>
          <ac:graphicFrameMkLst>
            <pc:docMk/>
            <pc:sldMk cId="3594171061" sldId="331"/>
            <ac:graphicFrameMk id="4" creationId="{852C40F4-3A0C-2C57-5C1A-53EF072895F3}"/>
          </ac:graphicFrameMkLst>
        </pc:graphicFrameChg>
      </pc:sldChg>
      <pc:sldChg chg="del">
        <pc:chgData name="Ewen Trafford" userId="e520b4bf-a196-48b7-bc10-b1590a457daa" providerId="ADAL" clId="{FAE4F14E-C27C-4B84-87D7-6E24C646B925}" dt="2022-07-20T09:23:27.479" v="34" actId="47"/>
        <pc:sldMkLst>
          <pc:docMk/>
          <pc:sldMk cId="477617242" sldId="332"/>
        </pc:sldMkLst>
      </pc:sldChg>
      <pc:sldChg chg="addSp delSp modSp mod">
        <pc:chgData name="Ewen Trafford" userId="e520b4bf-a196-48b7-bc10-b1590a457daa" providerId="ADAL" clId="{FAE4F14E-C27C-4B84-87D7-6E24C646B925}" dt="2022-07-20T12:07:12.550" v="4129" actId="20577"/>
        <pc:sldMkLst>
          <pc:docMk/>
          <pc:sldMk cId="2621305010" sldId="333"/>
        </pc:sldMkLst>
        <pc:spChg chg="mod">
          <ac:chgData name="Ewen Trafford" userId="e520b4bf-a196-48b7-bc10-b1590a457daa" providerId="ADAL" clId="{FAE4F14E-C27C-4B84-87D7-6E24C646B925}" dt="2022-07-20T09:52:57.050" v="2172" actId="20577"/>
          <ac:spMkLst>
            <pc:docMk/>
            <pc:sldMk cId="2621305010" sldId="333"/>
            <ac:spMk id="2" creationId="{FDEA6281-391E-66E2-1DB3-80FC7F3BDEE5}"/>
          </ac:spMkLst>
        </pc:spChg>
        <pc:spChg chg="mod">
          <ac:chgData name="Ewen Trafford" userId="e520b4bf-a196-48b7-bc10-b1590a457daa" providerId="ADAL" clId="{FAE4F14E-C27C-4B84-87D7-6E24C646B925}" dt="2022-07-20T12:07:12.550" v="4129" actId="20577"/>
          <ac:spMkLst>
            <pc:docMk/>
            <pc:sldMk cId="2621305010" sldId="333"/>
            <ac:spMk id="3" creationId="{4064AF50-EC9A-5285-EC07-7CD21438E99F}"/>
          </ac:spMkLst>
        </pc:spChg>
        <pc:spChg chg="add mod">
          <ac:chgData name="Ewen Trafford" userId="e520b4bf-a196-48b7-bc10-b1590a457daa" providerId="ADAL" clId="{FAE4F14E-C27C-4B84-87D7-6E24C646B925}" dt="2022-07-20T10:19:18.049" v="3524" actId="20577"/>
          <ac:spMkLst>
            <pc:docMk/>
            <pc:sldMk cId="2621305010" sldId="333"/>
            <ac:spMk id="9" creationId="{2A6216CF-87A2-41A9-BB3C-C3E6FE558FD7}"/>
          </ac:spMkLst>
        </pc:spChg>
        <pc:picChg chg="add mod modCrop">
          <ac:chgData name="Ewen Trafford" userId="e520b4bf-a196-48b7-bc10-b1590a457daa" providerId="ADAL" clId="{FAE4F14E-C27C-4B84-87D7-6E24C646B925}" dt="2022-07-20T10:18:58.570" v="3519" actId="1076"/>
          <ac:picMkLst>
            <pc:docMk/>
            <pc:sldMk cId="2621305010" sldId="333"/>
            <ac:picMk id="6" creationId="{DCFCA221-29AC-4E11-B474-BB6638413258}"/>
          </ac:picMkLst>
        </pc:picChg>
        <pc:picChg chg="del">
          <ac:chgData name="Ewen Trafford" userId="e520b4bf-a196-48b7-bc10-b1590a457daa" providerId="ADAL" clId="{FAE4F14E-C27C-4B84-87D7-6E24C646B925}" dt="2022-07-20T09:23:21.290" v="30" actId="478"/>
          <ac:picMkLst>
            <pc:docMk/>
            <pc:sldMk cId="2621305010" sldId="333"/>
            <ac:picMk id="7" creationId="{1BD31FB6-BA1A-F48F-1F64-EC35B64043FD}"/>
          </ac:picMkLst>
        </pc:picChg>
        <pc:picChg chg="del">
          <ac:chgData name="Ewen Trafford" userId="e520b4bf-a196-48b7-bc10-b1590a457daa" providerId="ADAL" clId="{FAE4F14E-C27C-4B84-87D7-6E24C646B925}" dt="2022-07-20T09:23:21.630" v="31" actId="478"/>
          <ac:picMkLst>
            <pc:docMk/>
            <pc:sldMk cId="2621305010" sldId="333"/>
            <ac:picMk id="11" creationId="{BCE24CF7-63E5-78B9-F8EC-E571288AF740}"/>
          </ac:picMkLst>
        </pc:picChg>
        <pc:cxnChg chg="add mod">
          <ac:chgData name="Ewen Trafford" userId="e520b4bf-a196-48b7-bc10-b1590a457daa" providerId="ADAL" clId="{FAE4F14E-C27C-4B84-87D7-6E24C646B925}" dt="2022-07-20T10:19:10.195" v="3521" actId="14100"/>
          <ac:cxnSpMkLst>
            <pc:docMk/>
            <pc:sldMk cId="2621305010" sldId="333"/>
            <ac:cxnSpMk id="8" creationId="{3963AA22-0FEB-4D90-8DA5-AC84C7AB218E}"/>
          </ac:cxnSpMkLst>
        </pc:cxnChg>
      </pc:sldChg>
      <pc:sldChg chg="delSp del mod">
        <pc:chgData name="Ewen Trafford" userId="e520b4bf-a196-48b7-bc10-b1590a457daa" providerId="ADAL" clId="{FAE4F14E-C27C-4B84-87D7-6E24C646B925}" dt="2022-07-20T09:53:04.769" v="2175" actId="47"/>
        <pc:sldMkLst>
          <pc:docMk/>
          <pc:sldMk cId="1992076852" sldId="334"/>
        </pc:sldMkLst>
        <pc:picChg chg="del">
          <ac:chgData name="Ewen Trafford" userId="e520b4bf-a196-48b7-bc10-b1590a457daa" providerId="ADAL" clId="{FAE4F14E-C27C-4B84-87D7-6E24C646B925}" dt="2022-07-20T09:23:23.072" v="32" actId="478"/>
          <ac:picMkLst>
            <pc:docMk/>
            <pc:sldMk cId="1992076852" sldId="334"/>
            <ac:picMk id="4" creationId="{42C93042-633F-35AF-BA5B-9D626703DB6D}"/>
          </ac:picMkLst>
        </pc:picChg>
      </pc:sldChg>
      <pc:sldChg chg="addSp delSp modSp mod">
        <pc:chgData name="Ewen Trafford" userId="e520b4bf-a196-48b7-bc10-b1590a457daa" providerId="ADAL" clId="{FAE4F14E-C27C-4B84-87D7-6E24C646B925}" dt="2022-07-20T10:16:03.948" v="3369" actId="14100"/>
        <pc:sldMkLst>
          <pc:docMk/>
          <pc:sldMk cId="568958115" sldId="335"/>
        </pc:sldMkLst>
        <pc:spChg chg="mod">
          <ac:chgData name="Ewen Trafford" userId="e520b4bf-a196-48b7-bc10-b1590a457daa" providerId="ADAL" clId="{FAE4F14E-C27C-4B84-87D7-6E24C646B925}" dt="2022-07-20T09:52:35.142" v="2121" actId="20577"/>
          <ac:spMkLst>
            <pc:docMk/>
            <pc:sldMk cId="568958115" sldId="335"/>
            <ac:spMk id="2" creationId="{69E0D44B-2259-C19F-790A-E64A638ADA8A}"/>
          </ac:spMkLst>
        </pc:spChg>
        <pc:spChg chg="mod">
          <ac:chgData name="Ewen Trafford" userId="e520b4bf-a196-48b7-bc10-b1590a457daa" providerId="ADAL" clId="{FAE4F14E-C27C-4B84-87D7-6E24C646B925}" dt="2022-07-20T10:12:57.698" v="3157" actId="20577"/>
          <ac:spMkLst>
            <pc:docMk/>
            <pc:sldMk cId="568958115" sldId="335"/>
            <ac:spMk id="3" creationId="{7A1ACDE8-06F6-9A1F-FEA6-E8329882C225}"/>
          </ac:spMkLst>
        </pc:spChg>
        <pc:spChg chg="del">
          <ac:chgData name="Ewen Trafford" userId="e520b4bf-a196-48b7-bc10-b1590a457daa" providerId="ADAL" clId="{FAE4F14E-C27C-4B84-87D7-6E24C646B925}" dt="2022-07-20T09:23:16.762" v="27" actId="478"/>
          <ac:spMkLst>
            <pc:docMk/>
            <pc:sldMk cId="568958115" sldId="335"/>
            <ac:spMk id="5" creationId="{02286E42-A545-A71F-96AC-AB93716B6D80}"/>
          </ac:spMkLst>
        </pc:spChg>
        <pc:spChg chg="add mod">
          <ac:chgData name="Ewen Trafford" userId="e520b4bf-a196-48b7-bc10-b1590a457daa" providerId="ADAL" clId="{FAE4F14E-C27C-4B84-87D7-6E24C646B925}" dt="2022-07-20T10:16:03.948" v="3369" actId="14100"/>
          <ac:spMkLst>
            <pc:docMk/>
            <pc:sldMk cId="568958115" sldId="335"/>
            <ac:spMk id="10" creationId="{5D6F8204-A5D0-4993-A32A-69D3D0976CF9}"/>
          </ac:spMkLst>
        </pc:spChg>
        <pc:picChg chg="del">
          <ac:chgData name="Ewen Trafford" userId="e520b4bf-a196-48b7-bc10-b1590a457daa" providerId="ADAL" clId="{FAE4F14E-C27C-4B84-87D7-6E24C646B925}" dt="2022-07-20T09:23:15.702" v="26" actId="478"/>
          <ac:picMkLst>
            <pc:docMk/>
            <pc:sldMk cId="568958115" sldId="335"/>
            <ac:picMk id="4" creationId="{7B8C6D31-DF0E-38D3-7B2D-2F4D49B1FB5A}"/>
          </ac:picMkLst>
        </pc:picChg>
        <pc:picChg chg="add mod modCrop">
          <ac:chgData name="Ewen Trafford" userId="e520b4bf-a196-48b7-bc10-b1590a457daa" providerId="ADAL" clId="{FAE4F14E-C27C-4B84-87D7-6E24C646B925}" dt="2022-07-20T10:13:42.929" v="3166" actId="1076"/>
          <ac:picMkLst>
            <pc:docMk/>
            <pc:sldMk cId="568958115" sldId="335"/>
            <ac:picMk id="6" creationId="{3E71CD65-71F4-43C3-B8AF-4A3A951DC28D}"/>
          </ac:picMkLst>
        </pc:picChg>
        <pc:cxnChg chg="add mod">
          <ac:chgData name="Ewen Trafford" userId="e520b4bf-a196-48b7-bc10-b1590a457daa" providerId="ADAL" clId="{FAE4F14E-C27C-4B84-87D7-6E24C646B925}" dt="2022-07-20T10:15:08.807" v="3185" actId="1076"/>
          <ac:cxnSpMkLst>
            <pc:docMk/>
            <pc:sldMk cId="568958115" sldId="335"/>
            <ac:cxnSpMk id="8" creationId="{9766098F-B058-4857-809C-D33A706C1FDD}"/>
          </ac:cxnSpMkLst>
        </pc:cxnChg>
      </pc:sldChg>
      <pc:sldChg chg="delSp del mod">
        <pc:chgData name="Ewen Trafford" userId="e520b4bf-a196-48b7-bc10-b1590a457daa" providerId="ADAL" clId="{FAE4F14E-C27C-4B84-87D7-6E24C646B925}" dt="2022-07-20T09:23:40.584" v="40" actId="47"/>
        <pc:sldMkLst>
          <pc:docMk/>
          <pc:sldMk cId="1320110399" sldId="336"/>
        </pc:sldMkLst>
        <pc:picChg chg="del">
          <ac:chgData name="Ewen Trafford" userId="e520b4bf-a196-48b7-bc10-b1590a457daa" providerId="ADAL" clId="{FAE4F14E-C27C-4B84-87D7-6E24C646B925}" dt="2022-07-20T09:23:39.622" v="39" actId="478"/>
          <ac:picMkLst>
            <pc:docMk/>
            <pc:sldMk cId="1320110399" sldId="336"/>
            <ac:picMk id="7" creationId="{CEBF10CC-61FD-3B64-0BD8-DBBE6622F123}"/>
          </ac:picMkLst>
        </pc:picChg>
      </pc:sldChg>
      <pc:sldChg chg="del">
        <pc:chgData name="Ewen Trafford" userId="e520b4bf-a196-48b7-bc10-b1590a457daa" providerId="ADAL" clId="{FAE4F14E-C27C-4B84-87D7-6E24C646B925}" dt="2022-07-20T09:23:47.165" v="43" actId="47"/>
        <pc:sldMkLst>
          <pc:docMk/>
          <pc:sldMk cId="553280098" sldId="337"/>
        </pc:sldMkLst>
      </pc:sldChg>
      <pc:sldChg chg="addSp delSp modSp mod">
        <pc:chgData name="Ewen Trafford" userId="e520b4bf-a196-48b7-bc10-b1590a457daa" providerId="ADAL" clId="{FAE4F14E-C27C-4B84-87D7-6E24C646B925}" dt="2022-07-26T10:04:04.046" v="6446" actId="1076"/>
        <pc:sldMkLst>
          <pc:docMk/>
          <pc:sldMk cId="2046763801" sldId="338"/>
        </pc:sldMkLst>
        <pc:spChg chg="mod">
          <ac:chgData name="Ewen Trafford" userId="e520b4bf-a196-48b7-bc10-b1590a457daa" providerId="ADAL" clId="{FAE4F14E-C27C-4B84-87D7-6E24C646B925}" dt="2022-07-26T09:09:19.980" v="5480" actId="20577"/>
          <ac:spMkLst>
            <pc:docMk/>
            <pc:sldMk cId="2046763801" sldId="338"/>
            <ac:spMk id="2" creationId="{CB2517A4-E10A-E444-1061-434E356416A6}"/>
          </ac:spMkLst>
        </pc:spChg>
        <pc:spChg chg="del mod">
          <ac:chgData name="Ewen Trafford" userId="e520b4bf-a196-48b7-bc10-b1590a457daa" providerId="ADAL" clId="{FAE4F14E-C27C-4B84-87D7-6E24C646B925}" dt="2022-07-26T09:39:16.640" v="5885" actId="478"/>
          <ac:spMkLst>
            <pc:docMk/>
            <pc:sldMk cId="2046763801" sldId="338"/>
            <ac:spMk id="3" creationId="{CDC99BCA-D4B3-5B9E-85FC-708932B92CBD}"/>
          </ac:spMkLst>
        </pc:spChg>
        <pc:spChg chg="add mod">
          <ac:chgData name="Ewen Trafford" userId="e520b4bf-a196-48b7-bc10-b1590a457daa" providerId="ADAL" clId="{FAE4F14E-C27C-4B84-87D7-6E24C646B925}" dt="2022-07-26T09:27:58.403" v="5688" actId="164"/>
          <ac:spMkLst>
            <pc:docMk/>
            <pc:sldMk cId="2046763801" sldId="338"/>
            <ac:spMk id="4" creationId="{E71E5675-E87A-4BE1-8C37-56D5D9CA6D78}"/>
          </ac:spMkLst>
        </pc:spChg>
        <pc:spChg chg="add mod">
          <ac:chgData name="Ewen Trafford" userId="e520b4bf-a196-48b7-bc10-b1590a457daa" providerId="ADAL" clId="{FAE4F14E-C27C-4B84-87D7-6E24C646B925}" dt="2022-07-26T09:54:15.246" v="6079" actId="164"/>
          <ac:spMkLst>
            <pc:docMk/>
            <pc:sldMk cId="2046763801" sldId="338"/>
            <ac:spMk id="30" creationId="{C74D8B56-0E3C-461E-8A66-B9F5254FC91A}"/>
          </ac:spMkLst>
        </pc:spChg>
        <pc:spChg chg="add mod">
          <ac:chgData name="Ewen Trafford" userId="e520b4bf-a196-48b7-bc10-b1590a457daa" providerId="ADAL" clId="{FAE4F14E-C27C-4B84-87D7-6E24C646B925}" dt="2022-07-26T09:54:15.246" v="6079" actId="164"/>
          <ac:spMkLst>
            <pc:docMk/>
            <pc:sldMk cId="2046763801" sldId="338"/>
            <ac:spMk id="31" creationId="{C45D1DF6-DBD0-4E9A-B575-336D1529F2B5}"/>
          </ac:spMkLst>
        </pc:spChg>
        <pc:spChg chg="add mod">
          <ac:chgData name="Ewen Trafford" userId="e520b4bf-a196-48b7-bc10-b1590a457daa" providerId="ADAL" clId="{FAE4F14E-C27C-4B84-87D7-6E24C646B925}" dt="2022-07-26T09:54:15.246" v="6079" actId="164"/>
          <ac:spMkLst>
            <pc:docMk/>
            <pc:sldMk cId="2046763801" sldId="338"/>
            <ac:spMk id="35" creationId="{2F51BC7A-0352-4CB8-852B-D58A56CECD89}"/>
          </ac:spMkLst>
        </pc:spChg>
        <pc:spChg chg="add mod">
          <ac:chgData name="Ewen Trafford" userId="e520b4bf-a196-48b7-bc10-b1590a457daa" providerId="ADAL" clId="{FAE4F14E-C27C-4B84-87D7-6E24C646B925}" dt="2022-07-26T09:54:15.246" v="6079" actId="164"/>
          <ac:spMkLst>
            <pc:docMk/>
            <pc:sldMk cId="2046763801" sldId="338"/>
            <ac:spMk id="36" creationId="{F3E7C47B-A9C9-4364-A215-D35FF63BEBC6}"/>
          </ac:spMkLst>
        </pc:spChg>
        <pc:spChg chg="mod">
          <ac:chgData name="Ewen Trafford" userId="e520b4bf-a196-48b7-bc10-b1590a457daa" providerId="ADAL" clId="{FAE4F14E-C27C-4B84-87D7-6E24C646B925}" dt="2022-07-26T09:31:49.251" v="5765"/>
          <ac:spMkLst>
            <pc:docMk/>
            <pc:sldMk cId="2046763801" sldId="338"/>
            <ac:spMk id="38" creationId="{E9360A71-0988-4C36-91D5-34385C9AD548}"/>
          </ac:spMkLst>
        </pc:spChg>
        <pc:spChg chg="add mod">
          <ac:chgData name="Ewen Trafford" userId="e520b4bf-a196-48b7-bc10-b1590a457daa" providerId="ADAL" clId="{FAE4F14E-C27C-4B84-87D7-6E24C646B925}" dt="2022-07-26T09:54:15.246" v="6079" actId="164"/>
          <ac:spMkLst>
            <pc:docMk/>
            <pc:sldMk cId="2046763801" sldId="338"/>
            <ac:spMk id="44" creationId="{8C72B5E9-200E-488A-A0F2-2D96CBB80D30}"/>
          </ac:spMkLst>
        </pc:spChg>
        <pc:spChg chg="add mod">
          <ac:chgData name="Ewen Trafford" userId="e520b4bf-a196-48b7-bc10-b1590a457daa" providerId="ADAL" clId="{FAE4F14E-C27C-4B84-87D7-6E24C646B925}" dt="2022-07-26T09:54:15.246" v="6079" actId="164"/>
          <ac:spMkLst>
            <pc:docMk/>
            <pc:sldMk cId="2046763801" sldId="338"/>
            <ac:spMk id="45" creationId="{CF0C21DB-D57A-4F3F-99F5-6AE42D1CEB96}"/>
          </ac:spMkLst>
        </pc:spChg>
        <pc:spChg chg="add mod">
          <ac:chgData name="Ewen Trafford" userId="e520b4bf-a196-48b7-bc10-b1590a457daa" providerId="ADAL" clId="{FAE4F14E-C27C-4B84-87D7-6E24C646B925}" dt="2022-07-26T09:54:15.246" v="6079" actId="164"/>
          <ac:spMkLst>
            <pc:docMk/>
            <pc:sldMk cId="2046763801" sldId="338"/>
            <ac:spMk id="49" creationId="{BD47172D-2714-4505-BAEF-18125612F238}"/>
          </ac:spMkLst>
        </pc:spChg>
        <pc:spChg chg="add mod">
          <ac:chgData name="Ewen Trafford" userId="e520b4bf-a196-48b7-bc10-b1590a457daa" providerId="ADAL" clId="{FAE4F14E-C27C-4B84-87D7-6E24C646B925}" dt="2022-07-26T09:54:15.246" v="6079" actId="164"/>
          <ac:spMkLst>
            <pc:docMk/>
            <pc:sldMk cId="2046763801" sldId="338"/>
            <ac:spMk id="60" creationId="{61E68C70-3794-4441-BA67-F0C8DEAA2F1A}"/>
          </ac:spMkLst>
        </pc:spChg>
        <pc:spChg chg="add mod">
          <ac:chgData name="Ewen Trafford" userId="e520b4bf-a196-48b7-bc10-b1590a457daa" providerId="ADAL" clId="{FAE4F14E-C27C-4B84-87D7-6E24C646B925}" dt="2022-07-26T09:54:15.246" v="6079" actId="164"/>
          <ac:spMkLst>
            <pc:docMk/>
            <pc:sldMk cId="2046763801" sldId="338"/>
            <ac:spMk id="61" creationId="{D1855E0C-4315-4F89-A8C0-704660273B2C}"/>
          </ac:spMkLst>
        </pc:spChg>
        <pc:spChg chg="add mod">
          <ac:chgData name="Ewen Trafford" userId="e520b4bf-a196-48b7-bc10-b1590a457daa" providerId="ADAL" clId="{FAE4F14E-C27C-4B84-87D7-6E24C646B925}" dt="2022-07-26T09:54:15.246" v="6079" actId="164"/>
          <ac:spMkLst>
            <pc:docMk/>
            <pc:sldMk cId="2046763801" sldId="338"/>
            <ac:spMk id="62" creationId="{4E104E36-9FF3-4871-8D22-E9BA425F20D0}"/>
          </ac:spMkLst>
        </pc:spChg>
        <pc:spChg chg="mod">
          <ac:chgData name="Ewen Trafford" userId="e520b4bf-a196-48b7-bc10-b1590a457daa" providerId="ADAL" clId="{FAE4F14E-C27C-4B84-87D7-6E24C646B925}" dt="2022-07-26T09:36:22.932" v="5835"/>
          <ac:spMkLst>
            <pc:docMk/>
            <pc:sldMk cId="2046763801" sldId="338"/>
            <ac:spMk id="64" creationId="{F54847AD-44FD-42AB-BD7A-26EE7D223E38}"/>
          </ac:spMkLst>
        </pc:spChg>
        <pc:spChg chg="add mod">
          <ac:chgData name="Ewen Trafford" userId="e520b4bf-a196-48b7-bc10-b1590a457daa" providerId="ADAL" clId="{FAE4F14E-C27C-4B84-87D7-6E24C646B925}" dt="2022-07-26T09:54:15.246" v="6079" actId="164"/>
          <ac:spMkLst>
            <pc:docMk/>
            <pc:sldMk cId="2046763801" sldId="338"/>
            <ac:spMk id="70" creationId="{095AFAD7-5657-404B-8AEE-A47AE9CA51B0}"/>
          </ac:spMkLst>
        </pc:spChg>
        <pc:spChg chg="add mod">
          <ac:chgData name="Ewen Trafford" userId="e520b4bf-a196-48b7-bc10-b1590a457daa" providerId="ADAL" clId="{FAE4F14E-C27C-4B84-87D7-6E24C646B925}" dt="2022-07-26T09:54:15.246" v="6079" actId="164"/>
          <ac:spMkLst>
            <pc:docMk/>
            <pc:sldMk cId="2046763801" sldId="338"/>
            <ac:spMk id="75" creationId="{AA957A1D-9792-472E-A01F-5DD90ADE975E}"/>
          </ac:spMkLst>
        </pc:spChg>
        <pc:spChg chg="add del mod">
          <ac:chgData name="Ewen Trafford" userId="e520b4bf-a196-48b7-bc10-b1590a457daa" providerId="ADAL" clId="{FAE4F14E-C27C-4B84-87D7-6E24C646B925}" dt="2022-07-26T09:39:18.180" v="5886" actId="478"/>
          <ac:spMkLst>
            <pc:docMk/>
            <pc:sldMk cId="2046763801" sldId="338"/>
            <ac:spMk id="78" creationId="{7964A4E7-6312-4D77-A87E-1CBCC5A09134}"/>
          </ac:spMkLst>
        </pc:spChg>
        <pc:spChg chg="add mod">
          <ac:chgData name="Ewen Trafford" userId="e520b4bf-a196-48b7-bc10-b1590a457daa" providerId="ADAL" clId="{FAE4F14E-C27C-4B84-87D7-6E24C646B925}" dt="2022-07-26T09:54:15.246" v="6079" actId="164"/>
          <ac:spMkLst>
            <pc:docMk/>
            <pc:sldMk cId="2046763801" sldId="338"/>
            <ac:spMk id="79" creationId="{B5E6DF15-4C79-4578-A968-17B77DA42A7B}"/>
          </ac:spMkLst>
        </pc:spChg>
        <pc:spChg chg="add mod">
          <ac:chgData name="Ewen Trafford" userId="e520b4bf-a196-48b7-bc10-b1590a457daa" providerId="ADAL" clId="{FAE4F14E-C27C-4B84-87D7-6E24C646B925}" dt="2022-07-26T09:54:15.246" v="6079" actId="164"/>
          <ac:spMkLst>
            <pc:docMk/>
            <pc:sldMk cId="2046763801" sldId="338"/>
            <ac:spMk id="80" creationId="{2F33A49C-CEDD-49D2-9756-410388640B35}"/>
          </ac:spMkLst>
        </pc:spChg>
        <pc:spChg chg="add mod">
          <ac:chgData name="Ewen Trafford" userId="e520b4bf-a196-48b7-bc10-b1590a457daa" providerId="ADAL" clId="{FAE4F14E-C27C-4B84-87D7-6E24C646B925}" dt="2022-07-26T09:54:15.246" v="6079" actId="164"/>
          <ac:spMkLst>
            <pc:docMk/>
            <pc:sldMk cId="2046763801" sldId="338"/>
            <ac:spMk id="81" creationId="{1B01C107-75E0-4CE7-B5A2-5F5BD0F768F5}"/>
          </ac:spMkLst>
        </pc:spChg>
        <pc:spChg chg="add mod">
          <ac:chgData name="Ewen Trafford" userId="e520b4bf-a196-48b7-bc10-b1590a457daa" providerId="ADAL" clId="{FAE4F14E-C27C-4B84-87D7-6E24C646B925}" dt="2022-07-26T09:54:15.246" v="6079" actId="164"/>
          <ac:spMkLst>
            <pc:docMk/>
            <pc:sldMk cId="2046763801" sldId="338"/>
            <ac:spMk id="82" creationId="{C63316B8-8194-4251-AD7C-F54C8B87C348}"/>
          </ac:spMkLst>
        </pc:spChg>
        <pc:spChg chg="add mod">
          <ac:chgData name="Ewen Trafford" userId="e520b4bf-a196-48b7-bc10-b1590a457daa" providerId="ADAL" clId="{FAE4F14E-C27C-4B84-87D7-6E24C646B925}" dt="2022-07-26T09:54:15.246" v="6079" actId="164"/>
          <ac:spMkLst>
            <pc:docMk/>
            <pc:sldMk cId="2046763801" sldId="338"/>
            <ac:spMk id="83" creationId="{2D17649D-B2D5-4077-83DA-4AEBE31DF930}"/>
          </ac:spMkLst>
        </pc:spChg>
        <pc:spChg chg="add mod">
          <ac:chgData name="Ewen Trafford" userId="e520b4bf-a196-48b7-bc10-b1590a457daa" providerId="ADAL" clId="{FAE4F14E-C27C-4B84-87D7-6E24C646B925}" dt="2022-07-26T09:54:15.246" v="6079" actId="164"/>
          <ac:spMkLst>
            <pc:docMk/>
            <pc:sldMk cId="2046763801" sldId="338"/>
            <ac:spMk id="85" creationId="{200B5C67-85D4-4C34-8215-A11E9E580198}"/>
          </ac:spMkLst>
        </pc:spChg>
        <pc:spChg chg="add mod">
          <ac:chgData name="Ewen Trafford" userId="e520b4bf-a196-48b7-bc10-b1590a457daa" providerId="ADAL" clId="{FAE4F14E-C27C-4B84-87D7-6E24C646B925}" dt="2022-07-26T09:54:15.246" v="6079" actId="164"/>
          <ac:spMkLst>
            <pc:docMk/>
            <pc:sldMk cId="2046763801" sldId="338"/>
            <ac:spMk id="87" creationId="{99282450-0DFB-4E19-99A2-AC808AB70E12}"/>
          </ac:spMkLst>
        </pc:spChg>
        <pc:spChg chg="add mod">
          <ac:chgData name="Ewen Trafford" userId="e520b4bf-a196-48b7-bc10-b1590a457daa" providerId="ADAL" clId="{FAE4F14E-C27C-4B84-87D7-6E24C646B925}" dt="2022-07-26T10:03:53.713" v="6445" actId="20577"/>
          <ac:spMkLst>
            <pc:docMk/>
            <pc:sldMk cId="2046763801" sldId="338"/>
            <ac:spMk id="89" creationId="{F881BA11-CD85-4831-ABB2-E9CAFC171B80}"/>
          </ac:spMkLst>
        </pc:spChg>
        <pc:spChg chg="add del mod">
          <ac:chgData name="Ewen Trafford" userId="e520b4bf-a196-48b7-bc10-b1590a457daa" providerId="ADAL" clId="{FAE4F14E-C27C-4B84-87D7-6E24C646B925}" dt="2022-07-26T10:03:28.525" v="6347" actId="478"/>
          <ac:spMkLst>
            <pc:docMk/>
            <pc:sldMk cId="2046763801" sldId="338"/>
            <ac:spMk id="90" creationId="{4B74B65F-02F8-42D0-ABD7-8E0C5B29A061}"/>
          </ac:spMkLst>
        </pc:spChg>
        <pc:spChg chg="add del mod">
          <ac:chgData name="Ewen Trafford" userId="e520b4bf-a196-48b7-bc10-b1590a457daa" providerId="ADAL" clId="{FAE4F14E-C27C-4B84-87D7-6E24C646B925}" dt="2022-07-26T10:03:28.525" v="6347" actId="478"/>
          <ac:spMkLst>
            <pc:docMk/>
            <pc:sldMk cId="2046763801" sldId="338"/>
            <ac:spMk id="91" creationId="{46C582CE-9399-48DF-931B-61EEC802F89E}"/>
          </ac:spMkLst>
        </pc:spChg>
        <pc:grpChg chg="add mod">
          <ac:chgData name="Ewen Trafford" userId="e520b4bf-a196-48b7-bc10-b1590a457daa" providerId="ADAL" clId="{FAE4F14E-C27C-4B84-87D7-6E24C646B925}" dt="2022-07-26T09:54:15.246" v="6079" actId="164"/>
          <ac:grpSpMkLst>
            <pc:docMk/>
            <pc:sldMk cId="2046763801" sldId="338"/>
            <ac:grpSpMk id="21" creationId="{1BBE6229-7580-4A3C-BCF0-47E45FFAB433}"/>
          </ac:grpSpMkLst>
        </pc:grpChg>
        <pc:grpChg chg="add mod">
          <ac:chgData name="Ewen Trafford" userId="e520b4bf-a196-48b7-bc10-b1590a457daa" providerId="ADAL" clId="{FAE4F14E-C27C-4B84-87D7-6E24C646B925}" dt="2022-07-26T09:54:15.246" v="6079" actId="164"/>
          <ac:grpSpMkLst>
            <pc:docMk/>
            <pc:sldMk cId="2046763801" sldId="338"/>
            <ac:grpSpMk id="37" creationId="{3A5B5969-A2BA-4591-A2A0-52FB982FF5B0}"/>
          </ac:grpSpMkLst>
        </pc:grpChg>
        <pc:grpChg chg="add mod">
          <ac:chgData name="Ewen Trafford" userId="e520b4bf-a196-48b7-bc10-b1590a457daa" providerId="ADAL" clId="{FAE4F14E-C27C-4B84-87D7-6E24C646B925}" dt="2022-07-26T09:54:15.246" v="6079" actId="164"/>
          <ac:grpSpMkLst>
            <pc:docMk/>
            <pc:sldMk cId="2046763801" sldId="338"/>
            <ac:grpSpMk id="63" creationId="{FCB43077-8BAF-40B1-96D6-1EAB6466C9D9}"/>
          </ac:grpSpMkLst>
        </pc:grpChg>
        <pc:grpChg chg="add mod">
          <ac:chgData name="Ewen Trafford" userId="e520b4bf-a196-48b7-bc10-b1590a457daa" providerId="ADAL" clId="{FAE4F14E-C27C-4B84-87D7-6E24C646B925}" dt="2022-07-26T09:54:15.246" v="6079" actId="164"/>
          <ac:grpSpMkLst>
            <pc:docMk/>
            <pc:sldMk cId="2046763801" sldId="338"/>
            <ac:grpSpMk id="71" creationId="{ABCBA076-C7CD-4C62-B32F-3EECD771FF2F}"/>
          </ac:grpSpMkLst>
        </pc:grpChg>
        <pc:grpChg chg="add mod">
          <ac:chgData name="Ewen Trafford" userId="e520b4bf-a196-48b7-bc10-b1590a457daa" providerId="ADAL" clId="{FAE4F14E-C27C-4B84-87D7-6E24C646B925}" dt="2022-07-26T09:54:15.246" v="6079" actId="164"/>
          <ac:grpSpMkLst>
            <pc:docMk/>
            <pc:sldMk cId="2046763801" sldId="338"/>
            <ac:grpSpMk id="72" creationId="{FDA66D73-76BB-49AE-A03D-08C1FFCE1AFD}"/>
          </ac:grpSpMkLst>
        </pc:grpChg>
        <pc:grpChg chg="add mod">
          <ac:chgData name="Ewen Trafford" userId="e520b4bf-a196-48b7-bc10-b1590a457daa" providerId="ADAL" clId="{FAE4F14E-C27C-4B84-87D7-6E24C646B925}" dt="2022-07-26T10:04:04.046" v="6446" actId="1076"/>
          <ac:grpSpMkLst>
            <pc:docMk/>
            <pc:sldMk cId="2046763801" sldId="338"/>
            <ac:grpSpMk id="88" creationId="{9DC31949-2309-49FF-A941-B7DC3F85B877}"/>
          </ac:grpSpMkLst>
        </pc:grpChg>
        <pc:cxnChg chg="add mod">
          <ac:chgData name="Ewen Trafford" userId="e520b4bf-a196-48b7-bc10-b1590a457daa" providerId="ADAL" clId="{FAE4F14E-C27C-4B84-87D7-6E24C646B925}" dt="2022-07-26T09:29:17.783" v="5722" actId="1037"/>
          <ac:cxnSpMkLst>
            <pc:docMk/>
            <pc:sldMk cId="2046763801" sldId="338"/>
            <ac:cxnSpMk id="6" creationId="{1D1A74F4-8FD0-461A-AD1A-C38FCE2497F0}"/>
          </ac:cxnSpMkLst>
        </pc:cxnChg>
        <pc:cxnChg chg="add mod">
          <ac:chgData name="Ewen Trafford" userId="e520b4bf-a196-48b7-bc10-b1590a457daa" providerId="ADAL" clId="{FAE4F14E-C27C-4B84-87D7-6E24C646B925}" dt="2022-07-26T09:28:45.515" v="5705" actId="1035"/>
          <ac:cxnSpMkLst>
            <pc:docMk/>
            <pc:sldMk cId="2046763801" sldId="338"/>
            <ac:cxnSpMk id="9" creationId="{B724A497-F582-46BE-80E5-2777CDF08D95}"/>
          </ac:cxnSpMkLst>
        </pc:cxnChg>
        <pc:cxnChg chg="add mod">
          <ac:chgData name="Ewen Trafford" userId="e520b4bf-a196-48b7-bc10-b1590a457daa" providerId="ADAL" clId="{FAE4F14E-C27C-4B84-87D7-6E24C646B925}" dt="2022-07-26T09:28:59.832" v="5713" actId="14100"/>
          <ac:cxnSpMkLst>
            <pc:docMk/>
            <pc:sldMk cId="2046763801" sldId="338"/>
            <ac:cxnSpMk id="12" creationId="{6B86D338-5731-4B2B-8D3B-0FFF55E76002}"/>
          </ac:cxnSpMkLst>
        </pc:cxnChg>
        <pc:cxnChg chg="add mod">
          <ac:chgData name="Ewen Trafford" userId="e520b4bf-a196-48b7-bc10-b1590a457daa" providerId="ADAL" clId="{FAE4F14E-C27C-4B84-87D7-6E24C646B925}" dt="2022-07-26T09:54:15.246" v="6079" actId="164"/>
          <ac:cxnSpMkLst>
            <pc:docMk/>
            <pc:sldMk cId="2046763801" sldId="338"/>
            <ac:cxnSpMk id="22" creationId="{C1D3AA32-DB78-4437-92F8-8125F2C13C22}"/>
          </ac:cxnSpMkLst>
        </pc:cxnChg>
        <pc:cxnChg chg="add mod">
          <ac:chgData name="Ewen Trafford" userId="e520b4bf-a196-48b7-bc10-b1590a457daa" providerId="ADAL" clId="{FAE4F14E-C27C-4B84-87D7-6E24C646B925}" dt="2022-07-26T09:54:15.246" v="6079" actId="164"/>
          <ac:cxnSpMkLst>
            <pc:docMk/>
            <pc:sldMk cId="2046763801" sldId="338"/>
            <ac:cxnSpMk id="24" creationId="{828570C2-1D70-4B03-AC2F-DAED311F1DE4}"/>
          </ac:cxnSpMkLst>
        </pc:cxnChg>
        <pc:cxnChg chg="add mod">
          <ac:chgData name="Ewen Trafford" userId="e520b4bf-a196-48b7-bc10-b1590a457daa" providerId="ADAL" clId="{FAE4F14E-C27C-4B84-87D7-6E24C646B925}" dt="2022-07-26T09:54:15.246" v="6079" actId="164"/>
          <ac:cxnSpMkLst>
            <pc:docMk/>
            <pc:sldMk cId="2046763801" sldId="338"/>
            <ac:cxnSpMk id="33" creationId="{4833333A-652A-4F3D-AB86-6A3D1572FE25}"/>
          </ac:cxnSpMkLst>
        </pc:cxnChg>
        <pc:cxnChg chg="mod">
          <ac:chgData name="Ewen Trafford" userId="e520b4bf-a196-48b7-bc10-b1590a457daa" providerId="ADAL" clId="{FAE4F14E-C27C-4B84-87D7-6E24C646B925}" dt="2022-07-26T09:31:49.251" v="5765"/>
          <ac:cxnSpMkLst>
            <pc:docMk/>
            <pc:sldMk cId="2046763801" sldId="338"/>
            <ac:cxnSpMk id="39" creationId="{1CB7B02C-7455-41BB-AE8C-EB788087AA33}"/>
          </ac:cxnSpMkLst>
        </pc:cxnChg>
        <pc:cxnChg chg="mod">
          <ac:chgData name="Ewen Trafford" userId="e520b4bf-a196-48b7-bc10-b1590a457daa" providerId="ADAL" clId="{FAE4F14E-C27C-4B84-87D7-6E24C646B925}" dt="2022-07-26T09:31:49.251" v="5765"/>
          <ac:cxnSpMkLst>
            <pc:docMk/>
            <pc:sldMk cId="2046763801" sldId="338"/>
            <ac:cxnSpMk id="40" creationId="{0E10569B-CA27-4451-87D7-B31896014B39}"/>
          </ac:cxnSpMkLst>
        </pc:cxnChg>
        <pc:cxnChg chg="mod">
          <ac:chgData name="Ewen Trafford" userId="e520b4bf-a196-48b7-bc10-b1590a457daa" providerId="ADAL" clId="{FAE4F14E-C27C-4B84-87D7-6E24C646B925}" dt="2022-07-26T09:31:49.251" v="5765"/>
          <ac:cxnSpMkLst>
            <pc:docMk/>
            <pc:sldMk cId="2046763801" sldId="338"/>
            <ac:cxnSpMk id="41" creationId="{AAC260A9-C278-4048-A836-DECC4A72C10A}"/>
          </ac:cxnSpMkLst>
        </pc:cxnChg>
        <pc:cxnChg chg="add mod">
          <ac:chgData name="Ewen Trafford" userId="e520b4bf-a196-48b7-bc10-b1590a457daa" providerId="ADAL" clId="{FAE4F14E-C27C-4B84-87D7-6E24C646B925}" dt="2022-07-26T09:54:15.246" v="6079" actId="164"/>
          <ac:cxnSpMkLst>
            <pc:docMk/>
            <pc:sldMk cId="2046763801" sldId="338"/>
            <ac:cxnSpMk id="42" creationId="{A3F622E1-6DA6-4825-87BC-1272DF320047}"/>
          </ac:cxnSpMkLst>
        </pc:cxnChg>
        <pc:cxnChg chg="add mod">
          <ac:chgData name="Ewen Trafford" userId="e520b4bf-a196-48b7-bc10-b1590a457daa" providerId="ADAL" clId="{FAE4F14E-C27C-4B84-87D7-6E24C646B925}" dt="2022-07-26T09:54:15.246" v="6079" actId="164"/>
          <ac:cxnSpMkLst>
            <pc:docMk/>
            <pc:sldMk cId="2046763801" sldId="338"/>
            <ac:cxnSpMk id="43" creationId="{8DFCFF06-1C61-463C-8E57-C8D6843EF555}"/>
          </ac:cxnSpMkLst>
        </pc:cxnChg>
        <pc:cxnChg chg="add mod">
          <ac:chgData name="Ewen Trafford" userId="e520b4bf-a196-48b7-bc10-b1590a457daa" providerId="ADAL" clId="{FAE4F14E-C27C-4B84-87D7-6E24C646B925}" dt="2022-07-26T09:54:15.246" v="6079" actId="164"/>
          <ac:cxnSpMkLst>
            <pc:docMk/>
            <pc:sldMk cId="2046763801" sldId="338"/>
            <ac:cxnSpMk id="46" creationId="{8B390C7E-7A92-420C-B459-BA6D003DCBBE}"/>
          </ac:cxnSpMkLst>
        </pc:cxnChg>
        <pc:cxnChg chg="add mod">
          <ac:chgData name="Ewen Trafford" userId="e520b4bf-a196-48b7-bc10-b1590a457daa" providerId="ADAL" clId="{FAE4F14E-C27C-4B84-87D7-6E24C646B925}" dt="2022-07-26T09:54:15.246" v="6079" actId="164"/>
          <ac:cxnSpMkLst>
            <pc:docMk/>
            <pc:sldMk cId="2046763801" sldId="338"/>
            <ac:cxnSpMk id="50" creationId="{0FBBA1A8-49D6-4E6C-9B0D-41D2EEBE298B}"/>
          </ac:cxnSpMkLst>
        </pc:cxnChg>
        <pc:cxnChg chg="add del mod">
          <ac:chgData name="Ewen Trafford" userId="e520b4bf-a196-48b7-bc10-b1590a457daa" providerId="ADAL" clId="{FAE4F14E-C27C-4B84-87D7-6E24C646B925}" dt="2022-07-26T09:33:27.917" v="5783" actId="478"/>
          <ac:cxnSpMkLst>
            <pc:docMk/>
            <pc:sldMk cId="2046763801" sldId="338"/>
            <ac:cxnSpMk id="52" creationId="{7E8E6FC7-C177-4E12-9162-D433AD7826EC}"/>
          </ac:cxnSpMkLst>
        </pc:cxnChg>
        <pc:cxnChg chg="del mod">
          <ac:chgData name="Ewen Trafford" userId="e520b4bf-a196-48b7-bc10-b1590a457daa" providerId="ADAL" clId="{FAE4F14E-C27C-4B84-87D7-6E24C646B925}" dt="2022-07-26T09:50:54.972" v="6060" actId="478"/>
          <ac:cxnSpMkLst>
            <pc:docMk/>
            <pc:sldMk cId="2046763801" sldId="338"/>
            <ac:cxnSpMk id="65" creationId="{C2BD2B6B-0402-4249-91A6-E84A7389A347}"/>
          </ac:cxnSpMkLst>
        </pc:cxnChg>
        <pc:cxnChg chg="mod">
          <ac:chgData name="Ewen Trafford" userId="e520b4bf-a196-48b7-bc10-b1590a457daa" providerId="ADAL" clId="{FAE4F14E-C27C-4B84-87D7-6E24C646B925}" dt="2022-07-26T09:36:22.932" v="5835"/>
          <ac:cxnSpMkLst>
            <pc:docMk/>
            <pc:sldMk cId="2046763801" sldId="338"/>
            <ac:cxnSpMk id="66" creationId="{A0866F89-5292-42A1-8BC1-E2A8A9693B0F}"/>
          </ac:cxnSpMkLst>
        </pc:cxnChg>
        <pc:cxnChg chg="mod">
          <ac:chgData name="Ewen Trafford" userId="e520b4bf-a196-48b7-bc10-b1590a457daa" providerId="ADAL" clId="{FAE4F14E-C27C-4B84-87D7-6E24C646B925}" dt="2022-07-26T09:36:22.932" v="5835"/>
          <ac:cxnSpMkLst>
            <pc:docMk/>
            <pc:sldMk cId="2046763801" sldId="338"/>
            <ac:cxnSpMk id="67" creationId="{1E2E96A9-D73B-4337-BE25-AEE14A69FE76}"/>
          </ac:cxnSpMkLst>
        </pc:cxnChg>
        <pc:cxnChg chg="add mod">
          <ac:chgData name="Ewen Trafford" userId="e520b4bf-a196-48b7-bc10-b1590a457daa" providerId="ADAL" clId="{FAE4F14E-C27C-4B84-87D7-6E24C646B925}" dt="2022-07-26T09:38:01.655" v="5870" actId="164"/>
          <ac:cxnSpMkLst>
            <pc:docMk/>
            <pc:sldMk cId="2046763801" sldId="338"/>
            <ac:cxnSpMk id="68" creationId="{777A9497-04AE-48DA-9BAC-28EE72DF6EB4}"/>
          </ac:cxnSpMkLst>
        </pc:cxnChg>
        <pc:cxnChg chg="add mod">
          <ac:chgData name="Ewen Trafford" userId="e520b4bf-a196-48b7-bc10-b1590a457daa" providerId="ADAL" clId="{FAE4F14E-C27C-4B84-87D7-6E24C646B925}" dt="2022-07-26T09:38:01.655" v="5870" actId="164"/>
          <ac:cxnSpMkLst>
            <pc:docMk/>
            <pc:sldMk cId="2046763801" sldId="338"/>
            <ac:cxnSpMk id="69" creationId="{3807BA7B-AFA2-462A-B8C0-6B6D28748A14}"/>
          </ac:cxnSpMkLst>
        </pc:cxnChg>
        <pc:cxnChg chg="mod">
          <ac:chgData name="Ewen Trafford" userId="e520b4bf-a196-48b7-bc10-b1590a457daa" providerId="ADAL" clId="{FAE4F14E-C27C-4B84-87D7-6E24C646B925}" dt="2022-07-26T09:38:03.965" v="5871"/>
          <ac:cxnSpMkLst>
            <pc:docMk/>
            <pc:sldMk cId="2046763801" sldId="338"/>
            <ac:cxnSpMk id="73" creationId="{E07BC8F5-C9FB-4AA5-AA8B-E1BEAFDBB2ED}"/>
          </ac:cxnSpMkLst>
        </pc:cxnChg>
        <pc:cxnChg chg="mod">
          <ac:chgData name="Ewen Trafford" userId="e520b4bf-a196-48b7-bc10-b1590a457daa" providerId="ADAL" clId="{FAE4F14E-C27C-4B84-87D7-6E24C646B925}" dt="2022-07-26T09:38:03.965" v="5871"/>
          <ac:cxnSpMkLst>
            <pc:docMk/>
            <pc:sldMk cId="2046763801" sldId="338"/>
            <ac:cxnSpMk id="74" creationId="{45780E5B-AB76-4A8F-AD91-DF889B3A03CB}"/>
          </ac:cxnSpMkLst>
        </pc:cxnChg>
        <pc:cxnChg chg="add mod">
          <ac:chgData name="Ewen Trafford" userId="e520b4bf-a196-48b7-bc10-b1590a457daa" providerId="ADAL" clId="{FAE4F14E-C27C-4B84-87D7-6E24C646B925}" dt="2022-07-26T09:54:15.246" v="6079" actId="164"/>
          <ac:cxnSpMkLst>
            <pc:docMk/>
            <pc:sldMk cId="2046763801" sldId="338"/>
            <ac:cxnSpMk id="84" creationId="{360CEB75-E876-4C78-9480-DA23E98BADAE}"/>
          </ac:cxnSpMkLst>
        </pc:cxnChg>
        <pc:cxnChg chg="add mod">
          <ac:chgData name="Ewen Trafford" userId="e520b4bf-a196-48b7-bc10-b1590a457daa" providerId="ADAL" clId="{FAE4F14E-C27C-4B84-87D7-6E24C646B925}" dt="2022-07-26T09:54:15.246" v="6079" actId="164"/>
          <ac:cxnSpMkLst>
            <pc:docMk/>
            <pc:sldMk cId="2046763801" sldId="338"/>
            <ac:cxnSpMk id="86" creationId="{953E5057-88B5-44F2-A91F-CAE5D15250FB}"/>
          </ac:cxnSpMkLst>
        </pc:cxnChg>
      </pc:sldChg>
      <pc:sldChg chg="addSp modSp mod">
        <pc:chgData name="Ewen Trafford" userId="e520b4bf-a196-48b7-bc10-b1590a457daa" providerId="ADAL" clId="{FAE4F14E-C27C-4B84-87D7-6E24C646B925}" dt="2022-07-26T12:55:34.576" v="9915" actId="14100"/>
        <pc:sldMkLst>
          <pc:docMk/>
          <pc:sldMk cId="2070260529" sldId="339"/>
        </pc:sldMkLst>
        <pc:spChg chg="mod">
          <ac:chgData name="Ewen Trafford" userId="e520b4bf-a196-48b7-bc10-b1590a457daa" providerId="ADAL" clId="{FAE4F14E-C27C-4B84-87D7-6E24C646B925}" dt="2022-07-26T09:09:16.710" v="5478" actId="20577"/>
          <ac:spMkLst>
            <pc:docMk/>
            <pc:sldMk cId="2070260529" sldId="339"/>
            <ac:spMk id="2" creationId="{7F902433-BE09-580A-3E8C-C0DDD80ACC8F}"/>
          </ac:spMkLst>
        </pc:spChg>
        <pc:spChg chg="mod">
          <ac:chgData name="Ewen Trafford" userId="e520b4bf-a196-48b7-bc10-b1590a457daa" providerId="ADAL" clId="{FAE4F14E-C27C-4B84-87D7-6E24C646B925}" dt="2022-07-26T12:55:34.576" v="9915" actId="14100"/>
          <ac:spMkLst>
            <pc:docMk/>
            <pc:sldMk cId="2070260529" sldId="339"/>
            <ac:spMk id="3" creationId="{82844BDE-4E6A-0B46-4D93-2FCABBF069E7}"/>
          </ac:spMkLst>
        </pc:spChg>
        <pc:picChg chg="add mod">
          <ac:chgData name="Ewen Trafford" userId="e520b4bf-a196-48b7-bc10-b1590a457daa" providerId="ADAL" clId="{FAE4F14E-C27C-4B84-87D7-6E24C646B925}" dt="2022-07-26T12:55:28.921" v="9914"/>
          <ac:picMkLst>
            <pc:docMk/>
            <pc:sldMk cId="2070260529" sldId="339"/>
            <ac:picMk id="4" creationId="{F1E0062D-F37E-447C-BDEA-748BF2812CD8}"/>
          </ac:picMkLst>
        </pc:picChg>
      </pc:sldChg>
      <pc:sldChg chg="modSp del">
        <pc:chgData name="Ewen Trafford" userId="e520b4bf-a196-48b7-bc10-b1590a457daa" providerId="ADAL" clId="{FAE4F14E-C27C-4B84-87D7-6E24C646B925}" dt="2022-07-20T15:03:38.179" v="4879" actId="47"/>
        <pc:sldMkLst>
          <pc:docMk/>
          <pc:sldMk cId="661775352" sldId="340"/>
        </pc:sldMkLst>
        <pc:spChg chg="mod">
          <ac:chgData name="Ewen Trafford" userId="e520b4bf-a196-48b7-bc10-b1590a457daa" providerId="ADAL" clId="{FAE4F14E-C27C-4B84-87D7-6E24C646B925}" dt="2022-07-20T09:26:37.205" v="136"/>
          <ac:spMkLst>
            <pc:docMk/>
            <pc:sldMk cId="661775352" sldId="340"/>
            <ac:spMk id="2" creationId="{D4D718B0-5CE8-6F0E-60F1-7D3FD91C2880}"/>
          </ac:spMkLst>
        </pc:spChg>
        <pc:spChg chg="mod">
          <ac:chgData name="Ewen Trafford" userId="e520b4bf-a196-48b7-bc10-b1590a457daa" providerId="ADAL" clId="{FAE4F14E-C27C-4B84-87D7-6E24C646B925}" dt="2022-07-20T09:26:37.205" v="136"/>
          <ac:spMkLst>
            <pc:docMk/>
            <pc:sldMk cId="661775352" sldId="340"/>
            <ac:spMk id="3" creationId="{125DC89D-D05E-9771-9226-3C1B0A19742E}"/>
          </ac:spMkLst>
        </pc:spChg>
      </pc:sldChg>
      <pc:sldChg chg="addSp delSp modSp mod">
        <pc:chgData name="Ewen Trafford" userId="e520b4bf-a196-48b7-bc10-b1590a457daa" providerId="ADAL" clId="{FAE4F14E-C27C-4B84-87D7-6E24C646B925}" dt="2022-07-26T12:56:27.844" v="9916"/>
        <pc:sldMkLst>
          <pc:docMk/>
          <pc:sldMk cId="1867798484" sldId="341"/>
        </pc:sldMkLst>
        <pc:spChg chg="mod">
          <ac:chgData name="Ewen Trafford" userId="e520b4bf-a196-48b7-bc10-b1590a457daa" providerId="ADAL" clId="{FAE4F14E-C27C-4B84-87D7-6E24C646B925}" dt="2022-07-26T09:09:00.997" v="5452" actId="20577"/>
          <ac:spMkLst>
            <pc:docMk/>
            <pc:sldMk cId="1867798484" sldId="341"/>
            <ac:spMk id="3" creationId="{B08F7FAB-511F-7730-95EA-CDCD60827684}"/>
          </ac:spMkLst>
        </pc:spChg>
        <pc:picChg chg="del">
          <ac:chgData name="Ewen Trafford" userId="e520b4bf-a196-48b7-bc10-b1590a457daa" providerId="ADAL" clId="{FAE4F14E-C27C-4B84-87D7-6E24C646B925}" dt="2022-07-20T09:24:01.143" v="61" actId="478"/>
          <ac:picMkLst>
            <pc:docMk/>
            <pc:sldMk cId="1867798484" sldId="341"/>
            <ac:picMk id="4" creationId="{266E6B86-D6B0-43F9-AAD5-786D4B0275C5}"/>
          </ac:picMkLst>
        </pc:picChg>
        <pc:picChg chg="add mod">
          <ac:chgData name="Ewen Trafford" userId="e520b4bf-a196-48b7-bc10-b1590a457daa" providerId="ADAL" clId="{FAE4F14E-C27C-4B84-87D7-6E24C646B925}" dt="2022-07-26T12:56:27.844" v="9916"/>
          <ac:picMkLst>
            <pc:docMk/>
            <pc:sldMk cId="1867798484" sldId="341"/>
            <ac:picMk id="4" creationId="{71DB5611-300A-41C9-8A47-555694F20177}"/>
          </ac:picMkLst>
        </pc:picChg>
      </pc:sldChg>
      <pc:sldChg chg="del">
        <pc:chgData name="Ewen Trafford" userId="e520b4bf-a196-48b7-bc10-b1590a457daa" providerId="ADAL" clId="{FAE4F14E-C27C-4B84-87D7-6E24C646B925}" dt="2022-07-20T15:03:39.259" v="4880" actId="47"/>
        <pc:sldMkLst>
          <pc:docMk/>
          <pc:sldMk cId="653686736" sldId="342"/>
        </pc:sldMkLst>
      </pc:sldChg>
      <pc:sldChg chg="del">
        <pc:chgData name="Ewen Trafford" userId="e520b4bf-a196-48b7-bc10-b1590a457daa" providerId="ADAL" clId="{FAE4F14E-C27C-4B84-87D7-6E24C646B925}" dt="2022-07-20T15:03:40.609" v="4881" actId="47"/>
        <pc:sldMkLst>
          <pc:docMk/>
          <pc:sldMk cId="236659418" sldId="343"/>
        </pc:sldMkLst>
      </pc:sldChg>
      <pc:sldChg chg="del">
        <pc:chgData name="Ewen Trafford" userId="e520b4bf-a196-48b7-bc10-b1590a457daa" providerId="ADAL" clId="{FAE4F14E-C27C-4B84-87D7-6E24C646B925}" dt="2022-07-20T15:03:41.955" v="4882" actId="47"/>
        <pc:sldMkLst>
          <pc:docMk/>
          <pc:sldMk cId="32424236" sldId="344"/>
        </pc:sldMkLst>
      </pc:sldChg>
      <pc:sldChg chg="modSp mod">
        <pc:chgData name="Ewen Trafford" userId="e520b4bf-a196-48b7-bc10-b1590a457daa" providerId="ADAL" clId="{FAE4F14E-C27C-4B84-87D7-6E24C646B925}" dt="2022-07-26T12:39:41.041" v="9193" actId="20577"/>
        <pc:sldMkLst>
          <pc:docMk/>
          <pc:sldMk cId="1628781729" sldId="345"/>
        </pc:sldMkLst>
        <pc:spChg chg="mod">
          <ac:chgData name="Ewen Trafford" userId="e520b4bf-a196-48b7-bc10-b1590a457daa" providerId="ADAL" clId="{FAE4F14E-C27C-4B84-87D7-6E24C646B925}" dt="2022-07-26T12:39:41.041" v="9193" actId="20577"/>
          <ac:spMkLst>
            <pc:docMk/>
            <pc:sldMk cId="1628781729" sldId="345"/>
            <ac:spMk id="2" creationId="{74B8B1D9-E25C-F40A-522B-54113616FBDB}"/>
          </ac:spMkLst>
        </pc:spChg>
        <pc:spChg chg="mod">
          <ac:chgData name="Ewen Trafford" userId="e520b4bf-a196-48b7-bc10-b1590a457daa" providerId="ADAL" clId="{FAE4F14E-C27C-4B84-87D7-6E24C646B925}" dt="2022-07-26T12:39:03.259" v="9183"/>
          <ac:spMkLst>
            <pc:docMk/>
            <pc:sldMk cId="1628781729" sldId="345"/>
            <ac:spMk id="3" creationId="{8CAB9D22-B491-9AFA-4800-DD173F69AF8D}"/>
          </ac:spMkLst>
        </pc:spChg>
      </pc:sldChg>
      <pc:sldChg chg="modSp del">
        <pc:chgData name="Ewen Trafford" userId="e520b4bf-a196-48b7-bc10-b1590a457daa" providerId="ADAL" clId="{FAE4F14E-C27C-4B84-87D7-6E24C646B925}" dt="2022-07-20T15:03:42.873" v="4883" actId="47"/>
        <pc:sldMkLst>
          <pc:docMk/>
          <pc:sldMk cId="3066457160" sldId="346"/>
        </pc:sldMkLst>
        <pc:spChg chg="mod">
          <ac:chgData name="Ewen Trafford" userId="e520b4bf-a196-48b7-bc10-b1590a457daa" providerId="ADAL" clId="{FAE4F14E-C27C-4B84-87D7-6E24C646B925}" dt="2022-07-20T09:26:37.205" v="136"/>
          <ac:spMkLst>
            <pc:docMk/>
            <pc:sldMk cId="3066457160" sldId="346"/>
            <ac:spMk id="2" creationId="{469EB1B7-A19D-26FC-21D7-5DB81FCC9A5C}"/>
          </ac:spMkLst>
        </pc:spChg>
        <pc:spChg chg="mod">
          <ac:chgData name="Ewen Trafford" userId="e520b4bf-a196-48b7-bc10-b1590a457daa" providerId="ADAL" clId="{FAE4F14E-C27C-4B84-87D7-6E24C646B925}" dt="2022-07-20T09:26:37.205" v="136"/>
          <ac:spMkLst>
            <pc:docMk/>
            <pc:sldMk cId="3066457160" sldId="346"/>
            <ac:spMk id="6" creationId="{8C0A5466-C6A6-09FA-0B0D-161CA462D4C8}"/>
          </ac:spMkLst>
        </pc:spChg>
      </pc:sldChg>
      <pc:sldChg chg="modSp del mod addCm modCm">
        <pc:chgData name="Ewen Trafford" userId="e520b4bf-a196-48b7-bc10-b1590a457daa" providerId="ADAL" clId="{FAE4F14E-C27C-4B84-87D7-6E24C646B925}" dt="2022-07-26T12:39:06.640" v="9184" actId="47"/>
        <pc:sldMkLst>
          <pc:docMk/>
          <pc:sldMk cId="2216651741" sldId="349"/>
        </pc:sldMkLst>
        <pc:spChg chg="mod">
          <ac:chgData name="Ewen Trafford" userId="e520b4bf-a196-48b7-bc10-b1590a457daa" providerId="ADAL" clId="{FAE4F14E-C27C-4B84-87D7-6E24C646B925}" dt="2022-07-26T09:21:12.805" v="5614" actId="20577"/>
          <ac:spMkLst>
            <pc:docMk/>
            <pc:sldMk cId="2216651741" sldId="349"/>
            <ac:spMk id="3" creationId="{2B2F653F-C430-F503-517E-CDF8E13CD0EC}"/>
          </ac:spMkLst>
        </pc:spChg>
      </pc:sldChg>
      <pc:sldChg chg="delSp modSp del mod">
        <pc:chgData name="Ewen Trafford" userId="e520b4bf-a196-48b7-bc10-b1590a457daa" providerId="ADAL" clId="{FAE4F14E-C27C-4B84-87D7-6E24C646B925}" dt="2022-07-26T07:55:04.859" v="5409" actId="47"/>
        <pc:sldMkLst>
          <pc:docMk/>
          <pc:sldMk cId="1044731279" sldId="350"/>
        </pc:sldMkLst>
        <pc:spChg chg="mod">
          <ac:chgData name="Ewen Trafford" userId="e520b4bf-a196-48b7-bc10-b1590a457daa" providerId="ADAL" clId="{FAE4F14E-C27C-4B84-87D7-6E24C646B925}" dt="2022-07-20T09:26:37.205" v="136"/>
          <ac:spMkLst>
            <pc:docMk/>
            <pc:sldMk cId="1044731279" sldId="350"/>
            <ac:spMk id="2" creationId="{09C8F7D6-0DE9-55CD-510F-91955FB21153}"/>
          </ac:spMkLst>
        </pc:spChg>
        <pc:spChg chg="mod">
          <ac:chgData name="Ewen Trafford" userId="e520b4bf-a196-48b7-bc10-b1590a457daa" providerId="ADAL" clId="{FAE4F14E-C27C-4B84-87D7-6E24C646B925}" dt="2022-07-20T15:05:37.672" v="4888" actId="113"/>
          <ac:spMkLst>
            <pc:docMk/>
            <pc:sldMk cId="1044731279" sldId="350"/>
            <ac:spMk id="3" creationId="{3F4AB2AE-64C7-4EAD-7377-33BA885C3FC6}"/>
          </ac:spMkLst>
        </pc:spChg>
        <pc:spChg chg="del">
          <ac:chgData name="Ewen Trafford" userId="e520b4bf-a196-48b7-bc10-b1590a457daa" providerId="ADAL" clId="{FAE4F14E-C27C-4B84-87D7-6E24C646B925}" dt="2022-07-20T09:26:17.053" v="119" actId="478"/>
          <ac:spMkLst>
            <pc:docMk/>
            <pc:sldMk cId="1044731279" sldId="350"/>
            <ac:spMk id="4" creationId="{7E793C40-9CB1-7AF8-E20C-CC91F8CD64DA}"/>
          </ac:spMkLst>
        </pc:spChg>
      </pc:sldChg>
      <pc:sldChg chg="del">
        <pc:chgData name="Ewen Trafford" userId="e520b4bf-a196-48b7-bc10-b1590a457daa" providerId="ADAL" clId="{FAE4F14E-C27C-4B84-87D7-6E24C646B925}" dt="2022-07-20T09:26:08.129" v="116" actId="47"/>
        <pc:sldMkLst>
          <pc:docMk/>
          <pc:sldMk cId="595403577" sldId="352"/>
        </pc:sldMkLst>
      </pc:sldChg>
      <pc:sldChg chg="modSp del mod">
        <pc:chgData name="Ewen Trafford" userId="e520b4bf-a196-48b7-bc10-b1590a457daa" providerId="ADAL" clId="{FAE4F14E-C27C-4B84-87D7-6E24C646B925}" dt="2022-07-20T15:03:46.944" v="4884" actId="47"/>
        <pc:sldMkLst>
          <pc:docMk/>
          <pc:sldMk cId="1709732832" sldId="353"/>
        </pc:sldMkLst>
        <pc:spChg chg="mod">
          <ac:chgData name="Ewen Trafford" userId="e520b4bf-a196-48b7-bc10-b1590a457daa" providerId="ADAL" clId="{FAE4F14E-C27C-4B84-87D7-6E24C646B925}" dt="2022-07-20T09:25:59.494" v="114" actId="20577"/>
          <ac:spMkLst>
            <pc:docMk/>
            <pc:sldMk cId="1709732832" sldId="353"/>
            <ac:spMk id="3" creationId="{B16FC004-1120-161A-ACD7-501951F35921}"/>
          </ac:spMkLst>
        </pc:spChg>
      </pc:sldChg>
      <pc:sldChg chg="modSp del mod">
        <pc:chgData name="Ewen Trafford" userId="e520b4bf-a196-48b7-bc10-b1590a457daa" providerId="ADAL" clId="{FAE4F14E-C27C-4B84-87D7-6E24C646B925}" dt="2022-07-25T12:54:59.829" v="5408" actId="47"/>
        <pc:sldMkLst>
          <pc:docMk/>
          <pc:sldMk cId="1109679171" sldId="354"/>
        </pc:sldMkLst>
        <pc:spChg chg="mod">
          <ac:chgData name="Ewen Trafford" userId="e520b4bf-a196-48b7-bc10-b1590a457daa" providerId="ADAL" clId="{FAE4F14E-C27C-4B84-87D7-6E24C646B925}" dt="2022-07-20T15:03:55.272" v="4887" actId="20577"/>
          <ac:spMkLst>
            <pc:docMk/>
            <pc:sldMk cId="1109679171" sldId="354"/>
            <ac:spMk id="2" creationId="{3D9957A6-0FFC-F702-9FBB-59B31771F969}"/>
          </ac:spMkLst>
        </pc:spChg>
        <pc:spChg chg="mod">
          <ac:chgData name="Ewen Trafford" userId="e520b4bf-a196-48b7-bc10-b1590a457daa" providerId="ADAL" clId="{FAE4F14E-C27C-4B84-87D7-6E24C646B925}" dt="2022-07-20T09:26:02.713" v="115" actId="20577"/>
          <ac:spMkLst>
            <pc:docMk/>
            <pc:sldMk cId="1109679171" sldId="354"/>
            <ac:spMk id="3" creationId="{5204CA75-A31A-AD47-DC3C-C19E15F38F87}"/>
          </ac:spMkLst>
        </pc:spChg>
      </pc:sldChg>
      <pc:sldChg chg="addSp modSp add mod">
        <pc:chgData name="Ewen Trafford" userId="e520b4bf-a196-48b7-bc10-b1590a457daa" providerId="ADAL" clId="{FAE4F14E-C27C-4B84-87D7-6E24C646B925}" dt="2022-07-20T10:07:53.014" v="2690" actId="20577"/>
        <pc:sldMkLst>
          <pc:docMk/>
          <pc:sldMk cId="357386720" sldId="355"/>
        </pc:sldMkLst>
        <pc:spChg chg="mod">
          <ac:chgData name="Ewen Trafford" userId="e520b4bf-a196-48b7-bc10-b1590a457daa" providerId="ADAL" clId="{FAE4F14E-C27C-4B84-87D7-6E24C646B925}" dt="2022-07-20T10:00:27.563" v="2222" actId="20577"/>
          <ac:spMkLst>
            <pc:docMk/>
            <pc:sldMk cId="357386720" sldId="355"/>
            <ac:spMk id="2" creationId="{6CFEA9C0-24EE-EB05-6ED1-A7679B590EE1}"/>
          </ac:spMkLst>
        </pc:spChg>
        <pc:spChg chg="mod">
          <ac:chgData name="Ewen Trafford" userId="e520b4bf-a196-48b7-bc10-b1590a457daa" providerId="ADAL" clId="{FAE4F14E-C27C-4B84-87D7-6E24C646B925}" dt="2022-07-20T10:07:53.014" v="2690" actId="20577"/>
          <ac:spMkLst>
            <pc:docMk/>
            <pc:sldMk cId="357386720" sldId="355"/>
            <ac:spMk id="3" creationId="{25ECF5C8-B231-B34A-F7D8-C96CD9FECAD2}"/>
          </ac:spMkLst>
        </pc:spChg>
        <pc:picChg chg="add mod ord modCrop">
          <ac:chgData name="Ewen Trafford" userId="e520b4bf-a196-48b7-bc10-b1590a457daa" providerId="ADAL" clId="{FAE4F14E-C27C-4B84-87D7-6E24C646B925}" dt="2022-07-20T10:05:34.638" v="2648" actId="1076"/>
          <ac:picMkLst>
            <pc:docMk/>
            <pc:sldMk cId="357386720" sldId="355"/>
            <ac:picMk id="5" creationId="{A5CA9058-D510-4993-A9ED-7CB8F06634CE}"/>
          </ac:picMkLst>
        </pc:picChg>
      </pc:sldChg>
      <pc:sldChg chg="modSp add mod">
        <pc:chgData name="Ewen Trafford" userId="e520b4bf-a196-48b7-bc10-b1590a457daa" providerId="ADAL" clId="{FAE4F14E-C27C-4B84-87D7-6E24C646B925}" dt="2022-07-20T14:56:56.207" v="4862" actId="20577"/>
        <pc:sldMkLst>
          <pc:docMk/>
          <pc:sldMk cId="2227979570" sldId="356"/>
        </pc:sldMkLst>
        <pc:graphicFrameChg chg="mod modGraphic">
          <ac:chgData name="Ewen Trafford" userId="e520b4bf-a196-48b7-bc10-b1590a457daa" providerId="ADAL" clId="{FAE4F14E-C27C-4B84-87D7-6E24C646B925}" dt="2022-07-20T14:56:56.207" v="4862" actId="20577"/>
          <ac:graphicFrameMkLst>
            <pc:docMk/>
            <pc:sldMk cId="2227979570" sldId="356"/>
            <ac:graphicFrameMk id="4" creationId="{852C40F4-3A0C-2C57-5C1A-53EF072895F3}"/>
          </ac:graphicFrameMkLst>
        </pc:graphicFrameChg>
      </pc:sldChg>
      <pc:sldChg chg="modSp add mod">
        <pc:chgData name="Ewen Trafford" userId="e520b4bf-a196-48b7-bc10-b1590a457daa" providerId="ADAL" clId="{FAE4F14E-C27C-4B84-87D7-6E24C646B925}" dt="2022-07-26T10:11:00.934" v="6894" actId="14100"/>
        <pc:sldMkLst>
          <pc:docMk/>
          <pc:sldMk cId="1234017442" sldId="357"/>
        </pc:sldMkLst>
        <pc:spChg chg="mod">
          <ac:chgData name="Ewen Trafford" userId="e520b4bf-a196-48b7-bc10-b1590a457daa" providerId="ADAL" clId="{FAE4F14E-C27C-4B84-87D7-6E24C646B925}" dt="2022-07-26T10:05:31.554" v="6457" actId="20577"/>
          <ac:spMkLst>
            <pc:docMk/>
            <pc:sldMk cId="1234017442" sldId="357"/>
            <ac:spMk id="2" creationId="{7F902433-BE09-580A-3E8C-C0DDD80ACC8F}"/>
          </ac:spMkLst>
        </pc:spChg>
        <pc:spChg chg="mod">
          <ac:chgData name="Ewen Trafford" userId="e520b4bf-a196-48b7-bc10-b1590a457daa" providerId="ADAL" clId="{FAE4F14E-C27C-4B84-87D7-6E24C646B925}" dt="2022-07-26T10:11:00.934" v="6894" actId="14100"/>
          <ac:spMkLst>
            <pc:docMk/>
            <pc:sldMk cId="1234017442" sldId="357"/>
            <ac:spMk id="3" creationId="{82844BDE-4E6A-0B46-4D93-2FCABBF069E7}"/>
          </ac:spMkLst>
        </pc:spChg>
      </pc:sldChg>
      <pc:sldChg chg="modSp add mod">
        <pc:chgData name="Ewen Trafford" userId="e520b4bf-a196-48b7-bc10-b1590a457daa" providerId="ADAL" clId="{FAE4F14E-C27C-4B84-87D7-6E24C646B925}" dt="2022-07-26T11:44:38.458" v="7451" actId="20577"/>
        <pc:sldMkLst>
          <pc:docMk/>
          <pc:sldMk cId="3410225225" sldId="358"/>
        </pc:sldMkLst>
        <pc:spChg chg="mod">
          <ac:chgData name="Ewen Trafford" userId="e520b4bf-a196-48b7-bc10-b1590a457daa" providerId="ADAL" clId="{FAE4F14E-C27C-4B84-87D7-6E24C646B925}" dt="2022-07-26T11:44:38.458" v="7451" actId="20577"/>
          <ac:spMkLst>
            <pc:docMk/>
            <pc:sldMk cId="3410225225" sldId="358"/>
            <ac:spMk id="3" creationId="{7A1ACDE8-06F6-9A1F-FEA6-E8329882C225}"/>
          </ac:spMkLst>
        </pc:spChg>
      </pc:sldChg>
      <pc:sldChg chg="modSp add mod">
        <pc:chgData name="Ewen Trafford" userId="e520b4bf-a196-48b7-bc10-b1590a457daa" providerId="ADAL" clId="{FAE4F14E-C27C-4B84-87D7-6E24C646B925}" dt="2022-07-26T11:49:11.227" v="8096" actId="20577"/>
        <pc:sldMkLst>
          <pc:docMk/>
          <pc:sldMk cId="764990888" sldId="359"/>
        </pc:sldMkLst>
        <pc:spChg chg="mod">
          <ac:chgData name="Ewen Trafford" userId="e520b4bf-a196-48b7-bc10-b1590a457daa" providerId="ADAL" clId="{FAE4F14E-C27C-4B84-87D7-6E24C646B925}" dt="2022-07-26T11:49:11.227" v="8096" actId="20577"/>
          <ac:spMkLst>
            <pc:docMk/>
            <pc:sldMk cId="764990888" sldId="359"/>
            <ac:spMk id="3" creationId="{2C665282-E317-C20B-46E2-966005E09A87}"/>
          </ac:spMkLst>
        </pc:spChg>
      </pc:sldChg>
      <pc:sldChg chg="modSp add mod">
        <pc:chgData name="Ewen Trafford" userId="e520b4bf-a196-48b7-bc10-b1590a457daa" providerId="ADAL" clId="{FAE4F14E-C27C-4B84-87D7-6E24C646B925}" dt="2022-07-26T12:07:35.273" v="8653" actId="20577"/>
        <pc:sldMkLst>
          <pc:docMk/>
          <pc:sldMk cId="3828567425" sldId="360"/>
        </pc:sldMkLst>
        <pc:spChg chg="mod">
          <ac:chgData name="Ewen Trafford" userId="e520b4bf-a196-48b7-bc10-b1590a457daa" providerId="ADAL" clId="{FAE4F14E-C27C-4B84-87D7-6E24C646B925}" dt="2022-07-26T12:07:35.273" v="8653" actId="20577"/>
          <ac:spMkLst>
            <pc:docMk/>
            <pc:sldMk cId="3828567425" sldId="360"/>
            <ac:spMk id="3" creationId="{4064AF50-EC9A-5285-EC07-7CD21438E99F}"/>
          </ac:spMkLst>
        </pc:spChg>
      </pc:sldChg>
      <pc:sldChg chg="modSp add mod addCm">
        <pc:chgData name="Ewen Trafford" userId="e520b4bf-a196-48b7-bc10-b1590a457daa" providerId="ADAL" clId="{FAE4F14E-C27C-4B84-87D7-6E24C646B925}" dt="2022-07-26T12:55:10.436" v="9913"/>
        <pc:sldMkLst>
          <pc:docMk/>
          <pc:sldMk cId="656388443" sldId="361"/>
        </pc:sldMkLst>
        <pc:spChg chg="mod">
          <ac:chgData name="Ewen Trafford" userId="e520b4bf-a196-48b7-bc10-b1590a457daa" providerId="ADAL" clId="{FAE4F14E-C27C-4B84-87D7-6E24C646B925}" dt="2022-07-26T12:39:50.569" v="9201" actId="20577"/>
          <ac:spMkLst>
            <pc:docMk/>
            <pc:sldMk cId="656388443" sldId="361"/>
            <ac:spMk id="2" creationId="{74B8B1D9-E25C-F40A-522B-54113616FBDB}"/>
          </ac:spMkLst>
        </pc:spChg>
        <pc:spChg chg="mod">
          <ac:chgData name="Ewen Trafford" userId="e520b4bf-a196-48b7-bc10-b1590a457daa" providerId="ADAL" clId="{FAE4F14E-C27C-4B84-87D7-6E24C646B925}" dt="2022-07-26T12:55:00.593" v="9912" actId="20577"/>
          <ac:spMkLst>
            <pc:docMk/>
            <pc:sldMk cId="656388443" sldId="361"/>
            <ac:spMk id="3" creationId="{8CAB9D22-B491-9AFA-4800-DD173F69AF8D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595EDE-C814-4531-BA28-B0829ACBCA95}" type="datetimeFigureOut">
              <a:rPr lang="en-GB" smtClean="0"/>
              <a:t>30/08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73C9BA-5544-4F63-A48C-49913C4BC28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08443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73C9BA-5544-4F63-A48C-49913C4BC280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26522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42452" y="3531477"/>
            <a:ext cx="9144000" cy="73309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4400" b="1" i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7410729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53512" y="587760"/>
            <a:ext cx="9144000" cy="63549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4000" b="1" i="0">
                <a:solidFill>
                  <a:srgbClr val="EF9F3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53512" y="3065488"/>
            <a:ext cx="9144000" cy="3087973"/>
          </a:xfrm>
          <a:prstGeom prst="rect">
            <a:avLst/>
          </a:prstGeom>
        </p:spPr>
        <p:txBody>
          <a:bodyPr lIns="0" tIns="0" rIns="0" bIns="0"/>
          <a:lstStyle>
            <a:lvl1pPr marL="285750" indent="-285750" algn="l">
              <a:buFont typeface="Arial" charset="0"/>
              <a:buChar char="•"/>
              <a:defRPr sz="1800"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8237676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69274" y="1563798"/>
            <a:ext cx="9720000" cy="72000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3400" b="1" i="0">
                <a:solidFill>
                  <a:srgbClr val="EF9F3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69276" y="2571092"/>
            <a:ext cx="9720000" cy="3600000"/>
          </a:xfrm>
          <a:prstGeom prst="rect">
            <a:avLst/>
          </a:prstGeom>
        </p:spPr>
        <p:txBody>
          <a:bodyPr lIns="0" tIns="0" rIns="0" bIns="0" numCol="1" anchor="t"/>
          <a:lstStyle>
            <a:lvl1pPr marL="285750" indent="-285750" algn="l">
              <a:buSzPct val="90000"/>
              <a:buFont typeface="Arial" charset="0"/>
              <a:buChar char="•"/>
              <a:defRPr sz="2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1551343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6209274" y="2571092"/>
            <a:ext cx="4680000" cy="3600000"/>
          </a:xfrm>
          <a:prstGeom prst="rect">
            <a:avLst/>
          </a:prstGeom>
          <a:solidFill>
            <a:srgbClr val="FCE3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169276" y="2571092"/>
            <a:ext cx="4680000" cy="360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285750" indent="-285750">
              <a:buSzPct val="90000"/>
              <a:buFont typeface="Arial" charset="0"/>
              <a:buChar char="•"/>
              <a:defRPr sz="1800" b="0" i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Body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398461" y="2760281"/>
            <a:ext cx="4320000" cy="324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buNone/>
              <a:defRPr sz="1800" b="0" i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Body text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1169276" y="1563798"/>
            <a:ext cx="9720000" cy="720000"/>
          </a:xfrm>
          <a:prstGeom prst="rect">
            <a:avLst/>
          </a:prstGeom>
        </p:spPr>
        <p:txBody>
          <a:bodyPr lIns="0" tIns="0" rIns="0" bIns="0"/>
          <a:lstStyle>
            <a:lvl1pPr>
              <a:defRPr sz="3400" b="1" i="0">
                <a:solidFill>
                  <a:srgbClr val="EF9F3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800079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foodafactoflife.org.uk/" TargetMode="External"/><Relationship Id="rId3" Type="http://schemas.openxmlformats.org/officeDocument/2006/relationships/tags" Target="../tags/tag2.xml"/><Relationship Id="rId7" Type="http://schemas.openxmlformats.org/officeDocument/2006/relationships/image" Target="../media/image3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hyperlink" Target="http://www.foodafactoflife.org.uk/" TargetMode="Externa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hyperlink" Target="http://www.foodafactoflife.org.uk/" TargetMode="Externa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hyperlink" Target="http://www.foodafactoflife.org.uk/" TargetMode="Externa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2160862-40A4-418F-BA05-7364BC4F57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86662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2160862-40A4-418F-BA05-7364BC4F57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9453" y="358589"/>
            <a:ext cx="2044335" cy="1435165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156447" y="6539528"/>
            <a:ext cx="1072178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hlinkClick r:id="rId8"/>
              </a:rPr>
              <a:t>www.foodafactoflife.org.uk</a:t>
            </a:r>
            <a:r>
              <a:rPr lang="en-US" sz="9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   </a:t>
            </a:r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©</a:t>
            </a:r>
            <a:r>
              <a:rPr lang="en-US" sz="9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Food – </a:t>
            </a:r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a fact of life 2022</a:t>
            </a:r>
          </a:p>
        </p:txBody>
      </p:sp>
    </p:spTree>
    <p:extLst>
      <p:ext uri="{BB962C8B-B14F-4D97-AF65-F5344CB8AC3E}">
        <p14:creationId xmlns:p14="http://schemas.microsoft.com/office/powerpoint/2010/main" val="1328885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2679DA3-4731-48D3-8E36-CB7A653629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27965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2679DA3-4731-48D3-8E36-CB7A653629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156447" y="6539528"/>
            <a:ext cx="10721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hlinkClick r:id="rId7"/>
              </a:rPr>
              <a:t>www.foodafactoflife.org.uk</a:t>
            </a:r>
            <a:r>
              <a:rPr lang="en-US" sz="9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   </a:t>
            </a:r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© Food – a fact of life 2022</a:t>
            </a:r>
          </a:p>
          <a:p>
            <a:pPr algn="r"/>
            <a:endParaRPr lang="en-US" sz="900" b="0" i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8317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4E8F17B-CE4B-4D2B-BFE0-BF7FFE1964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52132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4E8F17B-CE4B-4D2B-BFE0-BF7FFE1964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156447" y="6539528"/>
            <a:ext cx="1072178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hlinkClick r:id="rId7"/>
              </a:rPr>
              <a:t>www.foodafactoflife.org.uk</a:t>
            </a:r>
            <a:r>
              <a:rPr lang="en-US" sz="9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   </a:t>
            </a:r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© Food – a fact of life 2022</a:t>
            </a:r>
          </a:p>
        </p:txBody>
      </p:sp>
    </p:spTree>
    <p:extLst>
      <p:ext uri="{BB962C8B-B14F-4D97-AF65-F5344CB8AC3E}">
        <p14:creationId xmlns:p14="http://schemas.microsoft.com/office/powerpoint/2010/main" val="18223932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C646FD-9780-4F7E-B8BB-C7185B1667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68864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7C646FD-9780-4F7E-B8BB-C7185B1667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79973"/>
            <a:ext cx="12192000" cy="685800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56447" y="6539528"/>
            <a:ext cx="1072178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hlinkClick r:id="rId7"/>
              </a:rPr>
              <a:t>www.foodafactoflife.org.uk</a:t>
            </a:r>
            <a:r>
              <a:rPr lang="en-US" sz="9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   </a:t>
            </a:r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© Food – a fact of life 2022</a:t>
            </a:r>
          </a:p>
        </p:txBody>
      </p:sp>
    </p:spTree>
    <p:extLst>
      <p:ext uri="{BB962C8B-B14F-4D97-AF65-F5344CB8AC3E}">
        <p14:creationId xmlns:p14="http://schemas.microsoft.com/office/powerpoint/2010/main" val="1788143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fst.org/lovefoodlovescience/resources/fruit-and-vegetables-enzymic-browning#:~:text=What%20is%20enzymic%20browning%3F,oxidation%20in%20order%20to%20occur." TargetMode="External"/><Relationship Id="rId3" Type="http://schemas.openxmlformats.org/officeDocument/2006/relationships/hyperlink" Target="https://foodafactoflife.org.uk/11-14-years/cooking/ingredients/" TargetMode="External"/><Relationship Id="rId7" Type="http://schemas.openxmlformats.org/officeDocument/2006/relationships/hyperlink" Target="https://foodafactoflife.org.uk/media/9836/ingredients-functional-characteristics-ko-11-14c.docx" TargetMode="External"/><Relationship Id="rId2" Type="http://schemas.openxmlformats.org/officeDocument/2006/relationships/hyperlink" Target="https://www.foodafactoflife.org.uk/media/5023/enzymic-browning.docx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foodafactoflife.org.uk/14-16-years/food-science/" TargetMode="External"/><Relationship Id="rId5" Type="http://schemas.openxmlformats.org/officeDocument/2006/relationships/hyperlink" Target="https://www.foodafactoflife.org.uk/11-14-years/cooking/ingredients/#fun" TargetMode="External"/><Relationship Id="rId4" Type="http://schemas.openxmlformats.org/officeDocument/2006/relationships/hyperlink" Target="https://foodafactoflife.org.uk/14-16-years/food-science/" TargetMode="External"/><Relationship Id="rId9" Type="http://schemas.openxmlformats.org/officeDocument/2006/relationships/hyperlink" Target="https://www.youtube.com/watch?v=rEvQD8V9Des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oodafactoflife.org.uk/recipes/potatoes/mini-ham-and-onion-rostis/" TargetMode="External"/><Relationship Id="rId7" Type="http://schemas.openxmlformats.org/officeDocument/2006/relationships/image" Target="../media/image14.png"/><Relationship Id="rId2" Type="http://schemas.openxmlformats.org/officeDocument/2006/relationships/hyperlink" Target="https://www.foodafactoflife.org.uk/recipes/3-5-years/fabulous-fruit-salad/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foodafactoflife.org.uk/recipes/" TargetMode="External"/><Relationship Id="rId5" Type="http://schemas.openxmlformats.org/officeDocument/2006/relationships/image" Target="../media/image13.png"/><Relationship Id="rId4" Type="http://schemas.openxmlformats.org/officeDocument/2006/relationships/hyperlink" Target="https://www.foodafactoflife.org.uk/recipes/5-11-years/guacamole/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hyperlink" Target="https://www.foodafactoflife.org.uk/whole-school/whole-school-approach/guidelines-for-school-education-resources-about-food/" TargetMode="External"/><Relationship Id="rId5" Type="http://schemas.openxmlformats.org/officeDocument/2006/relationships/hyperlink" Target="http://www.foodafactoflife.org.uk/" TargetMode="Externa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CBAB5C4-5602-473B-9D95-400B1B769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992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CBAB5C4-5602-473B-9D95-400B1B7699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/>
              <a:t>Enzymic browning</a:t>
            </a:r>
            <a:endParaRPr lang="en-US" sz="3200"/>
          </a:p>
        </p:txBody>
      </p:sp>
    </p:spTree>
    <p:extLst>
      <p:ext uri="{BB962C8B-B14F-4D97-AF65-F5344CB8AC3E}">
        <p14:creationId xmlns:p14="http://schemas.microsoft.com/office/powerpoint/2010/main" val="19551663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EA6281-391E-66E2-1DB3-80FC7F3BDEE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Acidulation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064AF50-EC9A-5285-EC07-7CD21438E9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6986325" cy="3600000"/>
          </a:xfrm>
        </p:spPr>
        <p:txBody>
          <a:bodyPr/>
          <a:lstStyle/>
          <a:p>
            <a:pPr marL="0" indent="0">
              <a:buNone/>
            </a:pPr>
            <a:r>
              <a:rPr lang="en-US">
                <a:latin typeface="Arial"/>
                <a:cs typeface="Arial"/>
              </a:rPr>
              <a:t>Acids (e.g. citric acid from lemon juice) can denature enzymes and prevent or delay a browning reaction.</a:t>
            </a:r>
          </a:p>
          <a:p>
            <a:pPr marL="0" indent="0">
              <a:buNone/>
            </a:pPr>
            <a:r>
              <a:rPr lang="en-US">
                <a:latin typeface="Arial"/>
                <a:cs typeface="Arial"/>
              </a:rPr>
              <a:t>Other acids, such as acetic acid (vinegar) can be used as preservatives in pickles – this stops pickled vegetables from browning.</a:t>
            </a:r>
            <a:endParaRPr lang="en-US"/>
          </a:p>
          <a:p>
            <a:pPr marL="0" indent="0">
              <a:buNone/>
            </a:pPr>
            <a:endParaRPr lang="en-US" b="1"/>
          </a:p>
          <a:p>
            <a:pPr marL="0" indent="0">
              <a:buNone/>
            </a:pPr>
            <a:endParaRPr lang="en-US" b="1"/>
          </a:p>
        </p:txBody>
      </p: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DCFCA221-29AC-4E11-B474-BB663841325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120" t="35873" r="32036" b="44325"/>
          <a:stretch/>
        </p:blipFill>
        <p:spPr>
          <a:xfrm>
            <a:off x="8655111" y="2013295"/>
            <a:ext cx="2818955" cy="2659392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3963AA22-0FEB-4D90-8DA5-AC84C7AB218E}"/>
              </a:ext>
            </a:extLst>
          </p:cNvPr>
          <p:cNvCxnSpPr>
            <a:cxnSpLocks/>
          </p:cNvCxnSpPr>
          <p:nvPr/>
        </p:nvCxnSpPr>
        <p:spPr>
          <a:xfrm flipH="1">
            <a:off x="9252642" y="4128380"/>
            <a:ext cx="244443" cy="680111"/>
          </a:xfrm>
          <a:prstGeom prst="straightConnector1">
            <a:avLst/>
          </a:prstGeom>
          <a:ln w="38100">
            <a:solidFill>
              <a:srgbClr val="FF000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2A6216CF-87A2-41A9-BB3C-C3E6FE558FD7}"/>
              </a:ext>
            </a:extLst>
          </p:cNvPr>
          <p:cNvSpPr txBox="1"/>
          <p:nvPr/>
        </p:nvSpPr>
        <p:spPr>
          <a:xfrm>
            <a:off x="8944823" y="4808491"/>
            <a:ext cx="2761308" cy="30777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Low pH </a:t>
            </a:r>
          </a:p>
        </p:txBody>
      </p:sp>
    </p:spTree>
    <p:extLst>
      <p:ext uri="{BB962C8B-B14F-4D97-AF65-F5344CB8AC3E}">
        <p14:creationId xmlns:p14="http://schemas.microsoft.com/office/powerpoint/2010/main" val="26213050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E4CF2D-5446-4052-C13D-0EF8C717538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>
                <a:latin typeface="Arial"/>
                <a:cs typeface="Arial"/>
              </a:rPr>
              <a:t>Key words </a:t>
            </a:r>
            <a:endParaRPr lang="en-GB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852C40F4-3A0C-2C57-5C1A-53EF072895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111500"/>
              </p:ext>
            </p:extLst>
          </p:nvPr>
        </p:nvGraphicFramePr>
        <p:xfrm>
          <a:off x="1192530" y="2560701"/>
          <a:ext cx="9930774" cy="3928854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664209">
                  <a:extLst>
                    <a:ext uri="{9D8B030D-6E8A-4147-A177-3AD203B41FA5}">
                      <a16:colId xmlns:a16="http://schemas.microsoft.com/office/drawing/2014/main" val="2283084407"/>
                    </a:ext>
                  </a:extLst>
                </a:gridCol>
                <a:gridCol w="7266565">
                  <a:extLst>
                    <a:ext uri="{9D8B030D-6E8A-4147-A177-3AD203B41FA5}">
                      <a16:colId xmlns:a16="http://schemas.microsoft.com/office/drawing/2014/main" val="58838503"/>
                    </a:ext>
                  </a:extLst>
                </a:gridCol>
              </a:tblGrid>
              <a:tr h="45617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/>
                        </a:rPr>
                        <a:t>Key wor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latin typeface="Arial"/>
                        </a:rPr>
                        <a:t>Mean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5827214"/>
                  </a:ext>
                </a:extLst>
              </a:tr>
              <a:tr h="456178"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idulation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king something more acidic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23495877"/>
                  </a:ext>
                </a:extLst>
              </a:tr>
              <a:tr h="456178"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lanching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6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process of treating food with hot water or steam to reduce enzyme activity.</a:t>
                      </a:r>
                      <a:endParaRPr lang="en-US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10399103"/>
                  </a:ext>
                </a:extLst>
              </a:tr>
              <a:tr h="456178"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ramelisation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chemical change of heated sucrose (table sugar) to caramel, which produces flavour and browning. Caramelisation is a type of non-enzymic browning reaction.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18663554"/>
                  </a:ext>
                </a:extLst>
              </a:tr>
              <a:tr h="456178"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talyse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use, or speed up, a reaction.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18793018"/>
                  </a:ext>
                </a:extLst>
              </a:tr>
              <a:tr h="456178"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aturation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change in the structure of protein molecules, resulting in their unfolding, e.g., whisking egg white to make meringues.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42541781"/>
                  </a:ext>
                </a:extLst>
              </a:tr>
              <a:tr h="456178"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xtrinisation</a:t>
                      </a:r>
                      <a:endParaRPr lang="en-GB" sz="16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reaction of dry heat on the surface of food which changes starch to dextrin, e.g., toast.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915417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1710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E4CF2D-5446-4052-C13D-0EF8C717538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>
                <a:latin typeface="Arial"/>
                <a:cs typeface="Arial"/>
              </a:rPr>
              <a:t>Key words </a:t>
            </a:r>
            <a:endParaRPr lang="en-GB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852C40F4-3A0C-2C57-5C1A-53EF072895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7748387"/>
              </p:ext>
            </p:extLst>
          </p:nvPr>
        </p:nvGraphicFramePr>
        <p:xfrm>
          <a:off x="1192530" y="2560701"/>
          <a:ext cx="9930774" cy="2466836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664209">
                  <a:extLst>
                    <a:ext uri="{9D8B030D-6E8A-4147-A177-3AD203B41FA5}">
                      <a16:colId xmlns:a16="http://schemas.microsoft.com/office/drawing/2014/main" val="2283084407"/>
                    </a:ext>
                  </a:extLst>
                </a:gridCol>
                <a:gridCol w="7266565">
                  <a:extLst>
                    <a:ext uri="{9D8B030D-6E8A-4147-A177-3AD203B41FA5}">
                      <a16:colId xmlns:a16="http://schemas.microsoft.com/office/drawing/2014/main" val="58838503"/>
                    </a:ext>
                  </a:extLst>
                </a:gridCol>
              </a:tblGrid>
              <a:tr h="456178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y wor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>
                          <a:latin typeface="Arial"/>
                        </a:rPr>
                        <a:t>Mean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5827214"/>
                  </a:ext>
                </a:extLst>
              </a:tr>
              <a:tr h="531864"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zyme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latin typeface="Arial"/>
                        </a:rPr>
                        <a:t>Proteins that regulate chemical reactions, e.g., rennin in cheese production.</a:t>
                      </a:r>
                      <a:endParaRPr lang="en-US" sz="1800" dirty="0">
                        <a:latin typeface="Arial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23495877"/>
                  </a:ext>
                </a:extLst>
              </a:tr>
              <a:tr h="456178"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illard reaction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800" b="0" dirty="0">
                          <a:latin typeface="Arial"/>
                        </a:rPr>
                        <a:t>A type of non-enzymic browning initiated by reducing sugars reacting with amino acids, e.g., sugars and proteins reacting in bread when it is baked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10399103"/>
                  </a:ext>
                </a:extLst>
              </a:tr>
              <a:tr h="456178"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800" dirty="0">
                          <a:latin typeface="Arial"/>
                        </a:rPr>
                        <a:t>A measure of acidity or alkalinity of a solution.</a:t>
                      </a:r>
                      <a:endParaRPr lang="en-US" sz="1800" dirty="0">
                        <a:latin typeface="Arial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186635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79795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7EBE14-55C0-C423-6860-80CFB347D3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Teacher’s guide</a:t>
            </a:r>
          </a:p>
        </p:txBody>
      </p:sp>
    </p:spTree>
    <p:extLst>
      <p:ext uri="{BB962C8B-B14F-4D97-AF65-F5344CB8AC3E}">
        <p14:creationId xmlns:p14="http://schemas.microsoft.com/office/powerpoint/2010/main" val="4824969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B040530-858F-4412-BE1A-FA5CC63D27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8316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B040530-858F-4412-BE1A-FA5CC63D27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>
                <a:latin typeface="Arial"/>
                <a:cs typeface="Arial"/>
              </a:rPr>
              <a:t>Teaching about enzymic browning:</a:t>
            </a:r>
            <a:br>
              <a:rPr lang="en-US">
                <a:latin typeface="Arial"/>
                <a:cs typeface="Arial"/>
              </a:rPr>
            </a:b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10253400" cy="3600000"/>
          </a:xfrm>
        </p:spPr>
        <p:txBody>
          <a:bodyPr/>
          <a:lstStyle/>
          <a:p>
            <a:pPr marL="0" lvl="0" indent="0">
              <a:buNone/>
            </a:pPr>
            <a:endParaRPr lang="en-GB"/>
          </a:p>
          <a:p>
            <a:pPr lvl="0"/>
            <a:endParaRPr lang="en-GB"/>
          </a:p>
          <a:p>
            <a:pPr lvl="0"/>
            <a:endParaRPr lang="en-GB"/>
          </a:p>
          <a:p>
            <a:pPr lvl="0"/>
            <a:endParaRPr lang="en-GB"/>
          </a:p>
          <a:p>
            <a:pPr lvl="0"/>
            <a:endParaRPr lang="en-GB"/>
          </a:p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A705A842-B67A-1091-B43C-016955CEB56E}"/>
              </a:ext>
            </a:extLst>
          </p:cNvPr>
          <p:cNvSpPr>
            <a:spLocks noGrp="1"/>
          </p:cNvSpPr>
          <p:nvPr/>
        </p:nvSpPr>
        <p:spPr>
          <a:xfrm>
            <a:off x="1169276" y="2571092"/>
            <a:ext cx="10253400" cy="3600000"/>
          </a:xfrm>
          <a:prstGeom prst="rect">
            <a:avLst/>
          </a:prstGeom>
        </p:spPr>
        <p:txBody>
          <a:bodyPr lIns="0" tIns="0" rIns="0" bIns="0" numCol="1" anchor="t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90000"/>
              <a:buFont typeface="Arial" charset="0"/>
              <a:buChar char="•"/>
              <a:defRPr sz="2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latin typeface="Arial"/>
                <a:cs typeface="Arial"/>
              </a:rPr>
              <a:t>Define enzymes and explain how they can alter reactions</a:t>
            </a:r>
          </a:p>
          <a:p>
            <a:r>
              <a:rPr lang="en-GB" dirty="0">
                <a:latin typeface="Arial"/>
                <a:cs typeface="Arial"/>
              </a:rPr>
              <a:t>Explain the cause of enzymic browning</a:t>
            </a:r>
          </a:p>
          <a:p>
            <a:r>
              <a:rPr lang="en-GB" dirty="0">
                <a:latin typeface="Arial"/>
                <a:cs typeface="Arial"/>
              </a:rPr>
              <a:t>Explain the differences between enzymic and non-enzymic browning</a:t>
            </a:r>
          </a:p>
          <a:p>
            <a:r>
              <a:rPr lang="en-GB" dirty="0"/>
              <a:t>Examine why many enzymic browning reactions are undesirable</a:t>
            </a:r>
          </a:p>
          <a:p>
            <a:r>
              <a:rPr lang="en-GB" dirty="0"/>
              <a:t>Note some examples of desirable enzymic browning reactions</a:t>
            </a:r>
          </a:p>
          <a:p>
            <a:r>
              <a:rPr lang="en-GB" dirty="0"/>
              <a:t>Teach about methods of reducing/preventing enzymic browning, including: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blanching;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refrigeration and freezing;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cidulation.</a:t>
            </a:r>
          </a:p>
          <a:p>
            <a:pPr marL="62865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0" lvl="0" indent="0">
              <a:buNone/>
            </a:pPr>
            <a:endParaRPr lang="en-GB" dirty="0"/>
          </a:p>
          <a:p>
            <a:pPr lvl="0"/>
            <a:endParaRPr lang="en-GB" dirty="0"/>
          </a:p>
          <a:p>
            <a:pPr lvl="0"/>
            <a:endParaRPr lang="en-GB" dirty="0"/>
          </a:p>
          <a:p>
            <a:pPr marL="0" indent="0">
              <a:buNone/>
            </a:pP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39732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56DC22-08AB-0D91-7AB6-8D24F66397B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Introduction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08F7FAB-511F-7730-95EA-CDCD608276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6277833" cy="3600000"/>
          </a:xfrm>
        </p:spPr>
        <p:txBody>
          <a:bodyPr/>
          <a:lstStyle/>
          <a:p>
            <a:pPr marL="0" indent="0">
              <a:buNone/>
            </a:pPr>
            <a:r>
              <a:rPr lang="en-GB"/>
              <a:t>Enzymic browning is not normally a desirable kind of browning, as most non-enzymic browning is.</a:t>
            </a:r>
          </a:p>
          <a:p>
            <a:pPr marL="0" indent="0">
              <a:buNone/>
            </a:pPr>
            <a:r>
              <a:rPr lang="en-GB"/>
              <a:t>An easy way to see enzymic browning at work is to cut an apple in half and leave it out for a short time.</a:t>
            </a:r>
          </a:p>
          <a:p>
            <a:pPr marL="0" indent="0">
              <a:buNone/>
            </a:pPr>
            <a:r>
              <a:rPr lang="en-GB"/>
              <a:t>When the apple is cut, enzymes are exposed to oxygen and other molecules from the now broken cells in the fruit.</a:t>
            </a:r>
          </a:p>
          <a:p>
            <a:pPr marL="0" indent="0">
              <a:buNone/>
            </a:pPr>
            <a:r>
              <a:rPr lang="en-GB"/>
              <a:t>This causes a rapid 'browning' reaction. Whilst this may make the food look less appealing, it does not mean it is rendered inedible.</a:t>
            </a: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71DB5611-300A-41C9-8A47-555694F201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4021" y="2435289"/>
            <a:ext cx="3582108" cy="2761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77984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2517A4-E10A-E444-1061-434E356416A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>
                <a:latin typeface="Arial"/>
                <a:cs typeface="Arial"/>
              </a:rPr>
              <a:t>The science of enzymic browning</a:t>
            </a:r>
            <a:endParaRPr lang="en-US" b="0">
              <a:latin typeface="Arial"/>
              <a:cs typeface="Arial"/>
            </a:endParaRPr>
          </a:p>
          <a:p>
            <a:endParaRPr lang="en-US"/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9DC31949-2309-49FF-A941-B7DC3F85B877}"/>
              </a:ext>
            </a:extLst>
          </p:cNvPr>
          <p:cNvGrpSpPr/>
          <p:nvPr/>
        </p:nvGrpSpPr>
        <p:grpSpPr>
          <a:xfrm>
            <a:off x="5050876" y="2667668"/>
            <a:ext cx="7037556" cy="2878114"/>
            <a:chOff x="1804113" y="2571092"/>
            <a:chExt cx="7037556" cy="2878114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1BBE6229-7580-4A3C-BCF0-47E45FFAB433}"/>
                </a:ext>
              </a:extLst>
            </p:cNvPr>
            <p:cNvGrpSpPr/>
            <p:nvPr/>
          </p:nvGrpSpPr>
          <p:grpSpPr>
            <a:xfrm>
              <a:off x="1984063" y="3200400"/>
              <a:ext cx="990000" cy="1080000"/>
              <a:chOff x="1984063" y="3200400"/>
              <a:chExt cx="990000" cy="1080000"/>
            </a:xfrm>
          </p:grpSpPr>
          <p:sp>
            <p:nvSpPr>
              <p:cNvPr id="4" name="Hexagon 3">
                <a:extLst>
                  <a:ext uri="{FF2B5EF4-FFF2-40B4-BE49-F238E27FC236}">
                    <a16:creationId xmlns:a16="http://schemas.microsoft.com/office/drawing/2014/main" id="{E71E5675-E87A-4BE1-8C37-56D5D9CA6D78}"/>
                  </a:ext>
                </a:extLst>
              </p:cNvPr>
              <p:cNvSpPr>
                <a:spLocks/>
              </p:cNvSpPr>
              <p:nvPr/>
            </p:nvSpPr>
            <p:spPr>
              <a:xfrm rot="5400000">
                <a:off x="1939063" y="3245400"/>
                <a:ext cx="1080000" cy="990000"/>
              </a:xfrm>
              <a:prstGeom prst="hexagon">
                <a:avLst/>
              </a:prstGeom>
              <a:noFill/>
              <a:ln w="28575"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6" name="Straight Connector 5">
                <a:extLst>
                  <a:ext uri="{FF2B5EF4-FFF2-40B4-BE49-F238E27FC236}">
                    <a16:creationId xmlns:a16="http://schemas.microsoft.com/office/drawing/2014/main" id="{1D1A74F4-8FD0-461A-AD1A-C38FCE2497F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087105" y="3300479"/>
                <a:ext cx="371526" cy="178182"/>
              </a:xfrm>
              <a:prstGeom prst="line">
                <a:avLst/>
              </a:prstGeom>
              <a:ln w="19050">
                <a:solidFill>
                  <a:srgbClr val="00206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B724A497-F582-46BE-80E5-2777CDF08D9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890741" y="3549647"/>
                <a:ext cx="0" cy="389165"/>
              </a:xfrm>
              <a:prstGeom prst="line">
                <a:avLst/>
              </a:prstGeom>
              <a:ln w="19050">
                <a:solidFill>
                  <a:srgbClr val="00206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6B86D338-5731-4B2B-8D3B-0FFF55E7600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083373" y="3992668"/>
                <a:ext cx="395690" cy="202375"/>
              </a:xfrm>
              <a:prstGeom prst="line">
                <a:avLst/>
              </a:prstGeom>
              <a:ln w="19050">
                <a:solidFill>
                  <a:srgbClr val="00206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1D3AA32-DB78-4437-92F8-8125F2C13C22}"/>
                </a:ext>
              </a:extLst>
            </p:cNvPr>
            <p:cNvCxnSpPr>
              <a:cxnSpLocks/>
              <a:stCxn id="4" idx="3"/>
            </p:cNvCxnSpPr>
            <p:nvPr/>
          </p:nvCxnSpPr>
          <p:spPr>
            <a:xfrm flipV="1">
              <a:off x="2479063" y="2811235"/>
              <a:ext cx="0" cy="389165"/>
            </a:xfrm>
            <a:prstGeom prst="line">
              <a:avLst/>
            </a:prstGeom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28570C2-1D70-4B03-AC2F-DAED311F1DE4}"/>
                </a:ext>
              </a:extLst>
            </p:cNvPr>
            <p:cNvCxnSpPr>
              <a:cxnSpLocks/>
              <a:endCxn id="4" idx="0"/>
            </p:cNvCxnSpPr>
            <p:nvPr/>
          </p:nvCxnSpPr>
          <p:spPr>
            <a:xfrm flipV="1">
              <a:off x="2479063" y="4280400"/>
              <a:ext cx="0" cy="389165"/>
            </a:xfrm>
            <a:prstGeom prst="line">
              <a:avLst/>
            </a:prstGeom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C74D8B56-0E3C-461E-8A66-B9F5254FC91A}"/>
                </a:ext>
              </a:extLst>
            </p:cNvPr>
            <p:cNvSpPr txBox="1"/>
            <p:nvPr/>
          </p:nvSpPr>
          <p:spPr>
            <a:xfrm>
              <a:off x="2256995" y="2571092"/>
              <a:ext cx="44413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>
                  <a:solidFill>
                    <a:srgbClr val="002060"/>
                  </a:solidFill>
                  <a:latin typeface="Arial Black" panose="020B0A04020102020204" pitchFamily="34" charset="0"/>
                </a:rPr>
                <a:t>OH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C45D1DF6-DBD0-4E9A-B575-336D1529F2B5}"/>
                </a:ext>
              </a:extLst>
            </p:cNvPr>
            <p:cNvSpPr txBox="1"/>
            <p:nvPr/>
          </p:nvSpPr>
          <p:spPr>
            <a:xfrm>
              <a:off x="2256995" y="4668807"/>
              <a:ext cx="44413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>
                  <a:solidFill>
                    <a:srgbClr val="002060"/>
                  </a:solidFill>
                  <a:latin typeface="Arial Black" panose="020B0A04020102020204" pitchFamily="34" charset="0"/>
                </a:rPr>
                <a:t>R</a:t>
              </a:r>
            </a:p>
          </p:txBody>
        </p: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4833333A-652A-4F3D-AB86-6A3D1572FE25}"/>
                </a:ext>
              </a:extLst>
            </p:cNvPr>
            <p:cNvCxnSpPr>
              <a:cxnSpLocks/>
            </p:cNvCxnSpPr>
            <p:nvPr/>
          </p:nvCxnSpPr>
          <p:spPr>
            <a:xfrm>
              <a:off x="3209731" y="3740400"/>
              <a:ext cx="369492" cy="0"/>
            </a:xfrm>
            <a:prstGeom prst="straightConnector1">
              <a:avLst/>
            </a:prstGeom>
            <a:ln>
              <a:solidFill>
                <a:srgbClr val="00206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Arc 34">
              <a:extLst>
                <a:ext uri="{FF2B5EF4-FFF2-40B4-BE49-F238E27FC236}">
                  <a16:creationId xmlns:a16="http://schemas.microsoft.com/office/drawing/2014/main" id="{2F51BC7A-0352-4CB8-852B-D58A56CECD89}"/>
                </a:ext>
              </a:extLst>
            </p:cNvPr>
            <p:cNvSpPr/>
            <p:nvPr/>
          </p:nvSpPr>
          <p:spPr>
            <a:xfrm rot="10800000">
              <a:off x="3276911" y="3433913"/>
              <a:ext cx="369490" cy="306487"/>
            </a:xfrm>
            <a:prstGeom prst="arc">
              <a:avLst>
                <a:gd name="adj1" fmla="val 16459894"/>
                <a:gd name="adj2" fmla="val 183173"/>
              </a:avLst>
            </a:prstGeom>
            <a:ln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3E7C47B-A9C9-4364-A215-D35FF63BEBC6}"/>
                </a:ext>
              </a:extLst>
            </p:cNvPr>
            <p:cNvSpPr txBox="1"/>
            <p:nvPr/>
          </p:nvSpPr>
          <p:spPr>
            <a:xfrm>
              <a:off x="3054842" y="3340161"/>
              <a:ext cx="44413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>
                  <a:solidFill>
                    <a:srgbClr val="002060"/>
                  </a:solidFill>
                  <a:latin typeface="Arial Black" panose="020B0A04020102020204" pitchFamily="34" charset="0"/>
                </a:rPr>
                <a:t>O</a:t>
              </a:r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3A5B5969-A2BA-4591-A2A0-52FB982FF5B0}"/>
                </a:ext>
              </a:extLst>
            </p:cNvPr>
            <p:cNvGrpSpPr/>
            <p:nvPr/>
          </p:nvGrpSpPr>
          <p:grpSpPr>
            <a:xfrm>
              <a:off x="3788849" y="3200400"/>
              <a:ext cx="990000" cy="1080000"/>
              <a:chOff x="1984063" y="3200400"/>
              <a:chExt cx="990000" cy="1080000"/>
            </a:xfrm>
          </p:grpSpPr>
          <p:sp>
            <p:nvSpPr>
              <p:cNvPr id="38" name="Hexagon 37">
                <a:extLst>
                  <a:ext uri="{FF2B5EF4-FFF2-40B4-BE49-F238E27FC236}">
                    <a16:creationId xmlns:a16="http://schemas.microsoft.com/office/drawing/2014/main" id="{E9360A71-0988-4C36-91D5-34385C9AD548}"/>
                  </a:ext>
                </a:extLst>
              </p:cNvPr>
              <p:cNvSpPr>
                <a:spLocks/>
              </p:cNvSpPr>
              <p:nvPr/>
            </p:nvSpPr>
            <p:spPr>
              <a:xfrm rot="5400000">
                <a:off x="1939063" y="3245400"/>
                <a:ext cx="1080000" cy="990000"/>
              </a:xfrm>
              <a:prstGeom prst="hexagon">
                <a:avLst/>
              </a:prstGeom>
              <a:noFill/>
              <a:ln w="28575"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1CB7B02C-7455-41BB-AE8C-EB788087AA3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087105" y="3300479"/>
                <a:ext cx="371526" cy="178182"/>
              </a:xfrm>
              <a:prstGeom prst="line">
                <a:avLst/>
              </a:prstGeom>
              <a:ln w="19050">
                <a:solidFill>
                  <a:srgbClr val="00206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0E10569B-CA27-4451-87D7-B31896014B3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890741" y="3549647"/>
                <a:ext cx="0" cy="389165"/>
              </a:xfrm>
              <a:prstGeom prst="line">
                <a:avLst/>
              </a:prstGeom>
              <a:ln w="19050">
                <a:solidFill>
                  <a:srgbClr val="00206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AAC260A9-C278-4048-A836-DECC4A72C10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083373" y="3992668"/>
                <a:ext cx="395690" cy="202375"/>
              </a:xfrm>
              <a:prstGeom prst="line">
                <a:avLst/>
              </a:prstGeom>
              <a:ln w="19050">
                <a:solidFill>
                  <a:srgbClr val="00206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A3F622E1-6DA6-4825-87BC-1272DF320047}"/>
                </a:ext>
              </a:extLst>
            </p:cNvPr>
            <p:cNvCxnSpPr>
              <a:cxnSpLocks/>
              <a:stCxn id="38" idx="3"/>
            </p:cNvCxnSpPr>
            <p:nvPr/>
          </p:nvCxnSpPr>
          <p:spPr>
            <a:xfrm flipV="1">
              <a:off x="4283849" y="2811235"/>
              <a:ext cx="0" cy="389165"/>
            </a:xfrm>
            <a:prstGeom prst="line">
              <a:avLst/>
            </a:prstGeom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8DFCFF06-1C61-463C-8E57-C8D6843EF555}"/>
                </a:ext>
              </a:extLst>
            </p:cNvPr>
            <p:cNvCxnSpPr>
              <a:cxnSpLocks/>
              <a:endCxn id="38" idx="0"/>
            </p:cNvCxnSpPr>
            <p:nvPr/>
          </p:nvCxnSpPr>
          <p:spPr>
            <a:xfrm flipV="1">
              <a:off x="4283849" y="4280400"/>
              <a:ext cx="0" cy="389165"/>
            </a:xfrm>
            <a:prstGeom prst="line">
              <a:avLst/>
            </a:prstGeom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8C72B5E9-200E-488A-A0F2-2D96CBB80D30}"/>
                </a:ext>
              </a:extLst>
            </p:cNvPr>
            <p:cNvSpPr txBox="1"/>
            <p:nvPr/>
          </p:nvSpPr>
          <p:spPr>
            <a:xfrm>
              <a:off x="4061781" y="2571092"/>
              <a:ext cx="44413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>
                  <a:solidFill>
                    <a:srgbClr val="002060"/>
                  </a:solidFill>
                  <a:latin typeface="Arial Black" panose="020B0A04020102020204" pitchFamily="34" charset="0"/>
                </a:rPr>
                <a:t>OH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CF0C21DB-D57A-4F3F-99F5-6AE42D1CEB96}"/>
                </a:ext>
              </a:extLst>
            </p:cNvPr>
            <p:cNvSpPr txBox="1"/>
            <p:nvPr/>
          </p:nvSpPr>
          <p:spPr>
            <a:xfrm>
              <a:off x="4061781" y="4668807"/>
              <a:ext cx="44413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>
                  <a:solidFill>
                    <a:srgbClr val="002060"/>
                  </a:solidFill>
                  <a:latin typeface="Arial Black" panose="020B0A04020102020204" pitchFamily="34" charset="0"/>
                </a:rPr>
                <a:t>R</a:t>
              </a:r>
            </a:p>
          </p:txBody>
        </p: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8B390C7E-7A92-420C-B459-BA6D003DCBBE}"/>
                </a:ext>
              </a:extLst>
            </p:cNvPr>
            <p:cNvCxnSpPr>
              <a:cxnSpLocks/>
              <a:stCxn id="38" idx="4"/>
            </p:cNvCxnSpPr>
            <p:nvPr/>
          </p:nvCxnSpPr>
          <p:spPr>
            <a:xfrm flipV="1">
              <a:off x="4778849" y="3200400"/>
              <a:ext cx="302847" cy="247500"/>
            </a:xfrm>
            <a:prstGeom prst="line">
              <a:avLst/>
            </a:prstGeom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BD47172D-2714-4505-BAEF-18125612F238}"/>
                </a:ext>
              </a:extLst>
            </p:cNvPr>
            <p:cNvSpPr txBox="1"/>
            <p:nvPr/>
          </p:nvSpPr>
          <p:spPr>
            <a:xfrm>
              <a:off x="5010417" y="2990411"/>
              <a:ext cx="44413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>
                  <a:solidFill>
                    <a:srgbClr val="002060"/>
                  </a:solidFill>
                  <a:latin typeface="Arial Black" panose="020B0A04020102020204" pitchFamily="34" charset="0"/>
                </a:rPr>
                <a:t>OH</a:t>
              </a:r>
            </a:p>
          </p:txBody>
        </p: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0FBBA1A8-49D6-4E6C-9B0D-41D2EEBE298B}"/>
                </a:ext>
              </a:extLst>
            </p:cNvPr>
            <p:cNvCxnSpPr>
              <a:cxnSpLocks/>
            </p:cNvCxnSpPr>
            <p:nvPr/>
          </p:nvCxnSpPr>
          <p:spPr>
            <a:xfrm>
              <a:off x="5030773" y="3744201"/>
              <a:ext cx="369492" cy="0"/>
            </a:xfrm>
            <a:prstGeom prst="straightConnector1">
              <a:avLst/>
            </a:prstGeom>
            <a:ln>
              <a:solidFill>
                <a:srgbClr val="00206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Arc 59">
              <a:extLst>
                <a:ext uri="{FF2B5EF4-FFF2-40B4-BE49-F238E27FC236}">
                  <a16:creationId xmlns:a16="http://schemas.microsoft.com/office/drawing/2014/main" id="{61E68C70-3794-4441-BA67-F0C8DEAA2F1A}"/>
                </a:ext>
              </a:extLst>
            </p:cNvPr>
            <p:cNvSpPr/>
            <p:nvPr/>
          </p:nvSpPr>
          <p:spPr>
            <a:xfrm rot="19789581">
              <a:off x="5029499" y="3743653"/>
              <a:ext cx="311665" cy="315891"/>
            </a:xfrm>
            <a:prstGeom prst="arc">
              <a:avLst>
                <a:gd name="adj1" fmla="val 13754818"/>
                <a:gd name="adj2" fmla="val 1349206"/>
              </a:avLst>
            </a:prstGeom>
            <a:ln>
              <a:solidFill>
                <a:srgbClr val="00206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D1855E0C-4315-4F89-A8C0-704660273B2C}"/>
                </a:ext>
              </a:extLst>
            </p:cNvPr>
            <p:cNvSpPr txBox="1"/>
            <p:nvPr/>
          </p:nvSpPr>
          <p:spPr>
            <a:xfrm>
              <a:off x="4810990" y="3854425"/>
              <a:ext cx="45686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900">
                  <a:solidFill>
                    <a:srgbClr val="002060"/>
                  </a:solidFill>
                  <a:latin typeface="Arial Black" panose="020B0A04020102020204" pitchFamily="34" charset="0"/>
                </a:rPr>
                <a:t>O</a:t>
              </a:r>
              <a:endParaRPr lang="en-GB" sz="900" baseline="-25000">
                <a:solidFill>
                  <a:srgbClr val="002060"/>
                </a:solidFill>
                <a:latin typeface="Arial Black" panose="020B0A04020102020204" pitchFamily="34" charset="0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4E104E36-9FF3-4871-8D22-E9BA425F20D0}"/>
                </a:ext>
              </a:extLst>
            </p:cNvPr>
            <p:cNvSpPr txBox="1"/>
            <p:nvPr/>
          </p:nvSpPr>
          <p:spPr>
            <a:xfrm>
              <a:off x="5080498" y="3857220"/>
              <a:ext cx="514109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900">
                  <a:solidFill>
                    <a:srgbClr val="002060"/>
                  </a:solidFill>
                  <a:latin typeface="Arial Black" panose="020B0A04020102020204" pitchFamily="34" charset="0"/>
                </a:rPr>
                <a:t>H</a:t>
              </a:r>
              <a:r>
                <a:rPr lang="en-GB" sz="900" baseline="-25000">
                  <a:solidFill>
                    <a:srgbClr val="002060"/>
                  </a:solidFill>
                  <a:latin typeface="Arial Black" panose="020B0A04020102020204" pitchFamily="34" charset="0"/>
                </a:rPr>
                <a:t>2</a:t>
              </a:r>
              <a:r>
                <a:rPr lang="en-GB" sz="900">
                  <a:solidFill>
                    <a:srgbClr val="002060"/>
                  </a:solidFill>
                  <a:latin typeface="Arial Black" panose="020B0A04020102020204" pitchFamily="34" charset="0"/>
                </a:rPr>
                <a:t>O</a:t>
              </a:r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FCB43077-8BAF-40B1-96D6-1EAB6466C9D9}"/>
                </a:ext>
              </a:extLst>
            </p:cNvPr>
            <p:cNvGrpSpPr/>
            <p:nvPr/>
          </p:nvGrpSpPr>
          <p:grpSpPr>
            <a:xfrm flipH="1">
              <a:off x="5642236" y="3200420"/>
              <a:ext cx="990000" cy="1080000"/>
              <a:chOff x="1984063" y="3200400"/>
              <a:chExt cx="990000" cy="1080000"/>
            </a:xfrm>
          </p:grpSpPr>
          <p:sp>
            <p:nvSpPr>
              <p:cNvPr id="64" name="Hexagon 63">
                <a:extLst>
                  <a:ext uri="{FF2B5EF4-FFF2-40B4-BE49-F238E27FC236}">
                    <a16:creationId xmlns:a16="http://schemas.microsoft.com/office/drawing/2014/main" id="{F54847AD-44FD-42AB-BD7A-26EE7D223E38}"/>
                  </a:ext>
                </a:extLst>
              </p:cNvPr>
              <p:cNvSpPr>
                <a:spLocks/>
              </p:cNvSpPr>
              <p:nvPr/>
            </p:nvSpPr>
            <p:spPr>
              <a:xfrm rot="5400000">
                <a:off x="1939063" y="3245400"/>
                <a:ext cx="1080000" cy="990000"/>
              </a:xfrm>
              <a:prstGeom prst="hexagon">
                <a:avLst/>
              </a:prstGeom>
              <a:noFill/>
              <a:ln w="28575"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A0866F89-5292-42A1-8BC1-E2A8A9693B0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890741" y="3549647"/>
                <a:ext cx="0" cy="389165"/>
              </a:xfrm>
              <a:prstGeom prst="line">
                <a:avLst/>
              </a:prstGeom>
              <a:ln w="19050">
                <a:solidFill>
                  <a:srgbClr val="00206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1E2E96A9-D73B-4337-BE25-AEE14A69FE7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083373" y="3992668"/>
                <a:ext cx="395690" cy="202375"/>
              </a:xfrm>
              <a:prstGeom prst="line">
                <a:avLst/>
              </a:prstGeom>
              <a:ln w="19050">
                <a:solidFill>
                  <a:srgbClr val="00206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ABCBA076-C7CD-4C62-B32F-3EECD771FF2F}"/>
                </a:ext>
              </a:extLst>
            </p:cNvPr>
            <p:cNvGrpSpPr/>
            <p:nvPr/>
          </p:nvGrpSpPr>
          <p:grpSpPr>
            <a:xfrm>
              <a:off x="6116658" y="2811235"/>
              <a:ext cx="38470" cy="389165"/>
              <a:chOff x="6116658" y="2811235"/>
              <a:chExt cx="38470" cy="389165"/>
            </a:xfrm>
          </p:grpSpPr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777A9497-04AE-48DA-9BAC-28EE72DF6EB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116658" y="2811235"/>
                <a:ext cx="0" cy="389165"/>
              </a:xfrm>
              <a:prstGeom prst="line">
                <a:avLst/>
              </a:prstGeom>
              <a:ln w="19050">
                <a:solidFill>
                  <a:srgbClr val="00206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3807BA7B-AFA2-462A-B8C0-6B6D28748A1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155128" y="2811235"/>
                <a:ext cx="0" cy="389165"/>
              </a:xfrm>
              <a:prstGeom prst="line">
                <a:avLst/>
              </a:prstGeom>
              <a:ln w="19050">
                <a:solidFill>
                  <a:srgbClr val="00206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095AFAD7-5657-404B-8AEE-A47AE9CA51B0}"/>
                </a:ext>
              </a:extLst>
            </p:cNvPr>
            <p:cNvSpPr txBox="1"/>
            <p:nvPr/>
          </p:nvSpPr>
          <p:spPr>
            <a:xfrm>
              <a:off x="5915168" y="2573446"/>
              <a:ext cx="44413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>
                  <a:solidFill>
                    <a:srgbClr val="002060"/>
                  </a:solidFill>
                  <a:latin typeface="Arial Black" panose="020B0A04020102020204" pitchFamily="34" charset="0"/>
                </a:rPr>
                <a:t>O</a:t>
              </a:r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FDA66D73-76BB-49AE-A03D-08C1FFCE1AFD}"/>
                </a:ext>
              </a:extLst>
            </p:cNvPr>
            <p:cNvGrpSpPr/>
            <p:nvPr/>
          </p:nvGrpSpPr>
          <p:grpSpPr>
            <a:xfrm rot="3236855">
              <a:off x="6768029" y="3139618"/>
              <a:ext cx="38470" cy="389165"/>
              <a:chOff x="6116658" y="2811235"/>
              <a:chExt cx="38470" cy="389165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E07BC8F5-C9FB-4AA5-AA8B-E1BEAFDBB2E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116658" y="2811235"/>
                <a:ext cx="0" cy="389165"/>
              </a:xfrm>
              <a:prstGeom prst="line">
                <a:avLst/>
              </a:prstGeom>
              <a:ln w="19050">
                <a:solidFill>
                  <a:srgbClr val="00206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45780E5B-AB76-4A8F-AD91-DF889B3A03C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155128" y="2811235"/>
                <a:ext cx="0" cy="389165"/>
              </a:xfrm>
              <a:prstGeom prst="line">
                <a:avLst/>
              </a:prstGeom>
              <a:ln w="19050">
                <a:solidFill>
                  <a:srgbClr val="00206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AA957A1D-9792-472E-A01F-5DD90ADE975E}"/>
                </a:ext>
              </a:extLst>
            </p:cNvPr>
            <p:cNvSpPr txBox="1"/>
            <p:nvPr/>
          </p:nvSpPr>
          <p:spPr>
            <a:xfrm>
              <a:off x="6830008" y="3017669"/>
              <a:ext cx="44413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>
                  <a:solidFill>
                    <a:srgbClr val="002060"/>
                  </a:solidFill>
                  <a:latin typeface="Arial Black" panose="020B0A04020102020204" pitchFamily="34" charset="0"/>
                </a:rPr>
                <a:t>O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B5E6DF15-4C79-4578-A968-17B77DA42A7B}"/>
                </a:ext>
              </a:extLst>
            </p:cNvPr>
            <p:cNvSpPr txBox="1"/>
            <p:nvPr/>
          </p:nvSpPr>
          <p:spPr>
            <a:xfrm>
              <a:off x="1804113" y="5091416"/>
              <a:ext cx="13090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>
                  <a:solidFill>
                    <a:srgbClr val="000A1E"/>
                  </a:solidFill>
                  <a:latin typeface="Arial Black" panose="020B0A04020102020204" pitchFamily="34" charset="0"/>
                </a:rPr>
                <a:t>Monophenol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2F33A49C-CEDD-49D2-9756-410388640B35}"/>
                </a:ext>
              </a:extLst>
            </p:cNvPr>
            <p:cNvSpPr txBox="1"/>
            <p:nvPr/>
          </p:nvSpPr>
          <p:spPr>
            <a:xfrm>
              <a:off x="3629330" y="5010624"/>
              <a:ext cx="1309036" cy="4385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>
                  <a:solidFill>
                    <a:srgbClr val="000A1E"/>
                  </a:solidFill>
                  <a:latin typeface="Arial Black" panose="020B0A04020102020204" pitchFamily="34" charset="0"/>
                </a:rPr>
                <a:t>Diphenol</a:t>
              </a:r>
            </a:p>
            <a:p>
              <a:pPr algn="ctr"/>
              <a:r>
                <a:rPr lang="en-GB" sz="1000">
                  <a:solidFill>
                    <a:srgbClr val="000A1E"/>
                  </a:solidFill>
                  <a:latin typeface="Arial Black" panose="020B0A04020102020204" pitchFamily="34" charset="0"/>
                </a:rPr>
                <a:t>(colourless)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1B01C107-75E0-4CE7-B5A2-5F5BD0F768F5}"/>
                </a:ext>
              </a:extLst>
            </p:cNvPr>
            <p:cNvSpPr txBox="1"/>
            <p:nvPr/>
          </p:nvSpPr>
          <p:spPr>
            <a:xfrm>
              <a:off x="5425240" y="5010624"/>
              <a:ext cx="1389662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>
                  <a:solidFill>
                    <a:srgbClr val="000A1E"/>
                  </a:solidFill>
                  <a:latin typeface="Arial Black" panose="020B0A04020102020204" pitchFamily="34" charset="0"/>
                </a:rPr>
                <a:t>Quinone</a:t>
              </a:r>
            </a:p>
            <a:p>
              <a:pPr algn="ctr"/>
              <a:r>
                <a:rPr lang="en-GB" sz="1000">
                  <a:solidFill>
                    <a:srgbClr val="000A1E"/>
                  </a:solidFill>
                  <a:latin typeface="Arial Black" panose="020B0A04020102020204" pitchFamily="34" charset="0"/>
                </a:rPr>
                <a:t>(brown pigment)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C63316B8-8194-4251-AD7C-F54C8B87C348}"/>
                </a:ext>
              </a:extLst>
            </p:cNvPr>
            <p:cNvSpPr txBox="1"/>
            <p:nvPr/>
          </p:nvSpPr>
          <p:spPr>
            <a:xfrm>
              <a:off x="2959331" y="3825711"/>
              <a:ext cx="86865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900">
                  <a:solidFill>
                    <a:srgbClr val="C00000"/>
                  </a:solidFill>
                  <a:latin typeface="Arial Black" panose="020B0A04020102020204" pitchFamily="34" charset="0"/>
                </a:rPr>
                <a:t>PPO (catalyst)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2D17649D-B2D5-4077-83DA-4AEBE31DF930}"/>
                </a:ext>
              </a:extLst>
            </p:cNvPr>
            <p:cNvSpPr txBox="1"/>
            <p:nvPr/>
          </p:nvSpPr>
          <p:spPr>
            <a:xfrm>
              <a:off x="4779046" y="4048880"/>
              <a:ext cx="86865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900">
                  <a:solidFill>
                    <a:srgbClr val="C00000"/>
                  </a:solidFill>
                  <a:latin typeface="Arial Black" panose="020B0A04020102020204" pitchFamily="34" charset="0"/>
                </a:rPr>
                <a:t>PPO (catalyst)</a:t>
              </a:r>
            </a:p>
          </p:txBody>
        </p:sp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id="{360CEB75-E876-4C78-9480-DA23E98BADAE}"/>
                </a:ext>
              </a:extLst>
            </p:cNvPr>
            <p:cNvCxnSpPr>
              <a:cxnSpLocks/>
            </p:cNvCxnSpPr>
            <p:nvPr/>
          </p:nvCxnSpPr>
          <p:spPr>
            <a:xfrm>
              <a:off x="6831669" y="3757236"/>
              <a:ext cx="369492" cy="0"/>
            </a:xfrm>
            <a:prstGeom prst="straightConnector1">
              <a:avLst/>
            </a:prstGeom>
            <a:ln>
              <a:solidFill>
                <a:srgbClr val="00206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200B5C67-85D4-4C34-8215-A11E9E580198}"/>
                </a:ext>
              </a:extLst>
            </p:cNvPr>
            <p:cNvSpPr txBox="1"/>
            <p:nvPr/>
          </p:nvSpPr>
          <p:spPr>
            <a:xfrm>
              <a:off x="7274143" y="3509567"/>
              <a:ext cx="156752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>
                  <a:solidFill>
                    <a:srgbClr val="000A1E"/>
                  </a:solidFill>
                  <a:latin typeface="Arial Black" panose="020B0A04020102020204" pitchFamily="34" charset="0"/>
                </a:rPr>
                <a:t>Other complex brown polymers</a:t>
              </a:r>
              <a:endParaRPr lang="en-GB" sz="1000">
                <a:solidFill>
                  <a:srgbClr val="000A1E"/>
                </a:solidFill>
                <a:latin typeface="Arial Black" panose="020B0A04020102020204" pitchFamily="34" charset="0"/>
              </a:endParaRPr>
            </a:p>
          </p:txBody>
        </p: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953E5057-88B5-44F2-A91F-CAE5D15250F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37236" y="4280400"/>
              <a:ext cx="0" cy="389165"/>
            </a:xfrm>
            <a:prstGeom prst="line">
              <a:avLst/>
            </a:prstGeom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99282450-0DFB-4E19-99A2-AC808AB70E12}"/>
                </a:ext>
              </a:extLst>
            </p:cNvPr>
            <p:cNvSpPr txBox="1"/>
            <p:nvPr/>
          </p:nvSpPr>
          <p:spPr>
            <a:xfrm>
              <a:off x="5915168" y="4668807"/>
              <a:ext cx="44413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>
                  <a:solidFill>
                    <a:srgbClr val="002060"/>
                  </a:solidFill>
                  <a:latin typeface="Arial Black" panose="020B0A04020102020204" pitchFamily="34" charset="0"/>
                </a:rPr>
                <a:t>R</a:t>
              </a:r>
            </a:p>
          </p:txBody>
        </p:sp>
      </p:grpSp>
      <p:sp>
        <p:nvSpPr>
          <p:cNvPr id="89" name="Subtitle 2">
            <a:extLst>
              <a:ext uri="{FF2B5EF4-FFF2-40B4-BE49-F238E27FC236}">
                <a16:creationId xmlns:a16="http://schemas.microsoft.com/office/drawing/2014/main" id="{F881BA11-CD85-4831-ABB2-E9CAFC171B8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1436" y="2667668"/>
            <a:ext cx="4133923" cy="3600000"/>
          </a:xfrm>
        </p:spPr>
        <p:txBody>
          <a:bodyPr/>
          <a:lstStyle/>
          <a:p>
            <a:pPr marL="0" indent="0">
              <a:buNone/>
            </a:pPr>
            <a:r>
              <a:rPr lang="en-US"/>
              <a:t>Enzymic browning is </a:t>
            </a:r>
            <a:r>
              <a:rPr lang="en-US" err="1"/>
              <a:t>catalysed</a:t>
            </a:r>
            <a:r>
              <a:rPr lang="en-US"/>
              <a:t> by an enzyme called polyphenol oxidase (PPO).</a:t>
            </a:r>
          </a:p>
          <a:p>
            <a:pPr marL="0" indent="0">
              <a:buNone/>
            </a:pPr>
            <a:r>
              <a:rPr lang="en-US"/>
              <a:t>The simplified diagram to the right shows the early stages where </a:t>
            </a:r>
            <a:r>
              <a:rPr lang="en-US" err="1"/>
              <a:t>colourless</a:t>
            </a:r>
            <a:r>
              <a:rPr lang="en-US"/>
              <a:t> phenols are converted to brown-</a:t>
            </a:r>
            <a:r>
              <a:rPr lang="en-US" err="1"/>
              <a:t>coloured</a:t>
            </a:r>
            <a:r>
              <a:rPr lang="en-US"/>
              <a:t> quinones.</a:t>
            </a:r>
          </a:p>
          <a:p>
            <a:pPr marL="0" indent="0">
              <a:buNone/>
            </a:pPr>
            <a:r>
              <a:rPr lang="en-US"/>
              <a:t>These quinones then form larger and more complex molecules in further reactions.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67638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902433-BE09-580A-3E8C-C0DDD80ACC8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Preventing enzymic browning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2844BDE-4E6A-0B46-4D93-2FCABBF069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5521235" cy="3600000"/>
          </a:xfrm>
        </p:spPr>
        <p:txBody>
          <a:bodyPr/>
          <a:lstStyle/>
          <a:p>
            <a:pPr marL="0" indent="0">
              <a:buNone/>
            </a:pPr>
            <a:r>
              <a:rPr lang="en-GB" dirty="0">
                <a:latin typeface="Arial"/>
                <a:cs typeface="Arial"/>
              </a:rPr>
              <a:t>Enzymic browning reactions can be reduced (or slowed down) by a variety of methods.</a:t>
            </a:r>
          </a:p>
          <a:p>
            <a:pPr marL="0" indent="0">
              <a:buNone/>
            </a:pPr>
            <a:r>
              <a:rPr lang="en-GB" dirty="0"/>
              <a:t>Broadly speaking, these will fall into three categories in the classroom: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blanching;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refrigeration and freezing;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cidulation.</a:t>
            </a:r>
          </a:p>
          <a:p>
            <a:pPr lvl="1" algn="l"/>
            <a:endParaRPr lang="en-GB" dirty="0"/>
          </a:p>
          <a:p>
            <a:pPr marL="0" indent="0">
              <a:buNone/>
            </a:pPr>
            <a:endParaRPr lang="en-GB" dirty="0"/>
          </a:p>
          <a:p>
            <a:pPr lvl="1" algn="l"/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5" name="Picture 4" descr="A picture containing orange, cup, fruit, citrus&#10;&#10;Description automatically generated">
            <a:extLst>
              <a:ext uri="{FF2B5EF4-FFF2-40B4-BE49-F238E27FC236}">
                <a16:creationId xmlns:a16="http://schemas.microsoft.com/office/drawing/2014/main" id="{B8F62BA1-A2D3-A695-6134-8ECA6E41F1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59380" y="3013981"/>
            <a:ext cx="3348342" cy="2280221"/>
          </a:xfrm>
          <a:prstGeom prst="rect">
            <a:avLst/>
          </a:prstGeom>
          <a:ln w="28575">
            <a:solidFill>
              <a:srgbClr val="EF9F3F"/>
            </a:solidFill>
          </a:ln>
        </p:spPr>
      </p:pic>
    </p:spTree>
    <p:extLst>
      <p:ext uri="{BB962C8B-B14F-4D97-AF65-F5344CB8AC3E}">
        <p14:creationId xmlns:p14="http://schemas.microsoft.com/office/powerpoint/2010/main" val="12340174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E0D44B-2259-C19F-790A-E64A638ADA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Blanching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A1ACDE8-06F6-9A1F-FEA6-E8329882C2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6557700" cy="3600000"/>
          </a:xfrm>
        </p:spPr>
        <p:txBody>
          <a:bodyPr/>
          <a:lstStyle/>
          <a:p>
            <a:pPr marL="0" indent="0">
              <a:buNone/>
            </a:pPr>
            <a:r>
              <a:rPr lang="en-US">
                <a:latin typeface="Arial"/>
                <a:cs typeface="Arial"/>
              </a:rPr>
              <a:t>Blanching </a:t>
            </a:r>
            <a:r>
              <a:rPr lang="en-US" err="1">
                <a:latin typeface="Arial"/>
                <a:cs typeface="Arial"/>
              </a:rPr>
              <a:t>utilises</a:t>
            </a:r>
            <a:r>
              <a:rPr lang="en-US">
                <a:latin typeface="Arial"/>
                <a:cs typeface="Arial"/>
              </a:rPr>
              <a:t> high temperatures to denature the PPO enzymes and prevents it from </a:t>
            </a:r>
            <a:r>
              <a:rPr lang="en-US" err="1">
                <a:latin typeface="Arial"/>
                <a:cs typeface="Arial"/>
              </a:rPr>
              <a:t>catalysing</a:t>
            </a:r>
            <a:r>
              <a:rPr lang="en-US">
                <a:latin typeface="Arial"/>
                <a:cs typeface="Arial"/>
              </a:rPr>
              <a:t> oxidation reactions.</a:t>
            </a:r>
          </a:p>
          <a:p>
            <a:pPr marL="0" indent="0">
              <a:buNone/>
            </a:pPr>
            <a:r>
              <a:rPr lang="en-US">
                <a:latin typeface="Arial"/>
                <a:cs typeface="Arial"/>
              </a:rPr>
              <a:t>Fruit and vegetables are plunged into hot water and then quickly placed into cold water to prevent cooking.</a:t>
            </a:r>
          </a:p>
          <a:p>
            <a:pPr marL="0" indent="0">
              <a:buNone/>
            </a:pPr>
            <a:r>
              <a:rPr lang="en-US">
                <a:latin typeface="Arial"/>
                <a:cs typeface="Arial"/>
              </a:rPr>
              <a:t>Blanching is a useful procedure before fruit and vegetables are frozen. When frozen, the cells can become damaged and therefore browning occurs upon thawing if PPO has not been denatured.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</p:txBody>
      </p: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3E71CD65-71F4-43C3-B8AF-4A3A951DC28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616" t="37456" r="72833" b="42046"/>
          <a:stretch/>
        </p:blipFill>
        <p:spPr>
          <a:xfrm>
            <a:off x="8510256" y="2049509"/>
            <a:ext cx="3340544" cy="2758982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9766098F-B058-4857-809C-D33A706C1FDD}"/>
              </a:ext>
            </a:extLst>
          </p:cNvPr>
          <p:cNvCxnSpPr>
            <a:cxnSpLocks/>
          </p:cNvCxnSpPr>
          <p:nvPr/>
        </p:nvCxnSpPr>
        <p:spPr>
          <a:xfrm flipH="1">
            <a:off x="10753472" y="4074059"/>
            <a:ext cx="160918" cy="734432"/>
          </a:xfrm>
          <a:prstGeom prst="straightConnector1">
            <a:avLst/>
          </a:prstGeom>
          <a:ln w="38100">
            <a:solidFill>
              <a:srgbClr val="FF000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5D6F8204-A5D0-4993-A32A-69D3D0976CF9}"/>
              </a:ext>
            </a:extLst>
          </p:cNvPr>
          <p:cNvSpPr txBox="1"/>
          <p:nvPr/>
        </p:nvSpPr>
        <p:spPr>
          <a:xfrm>
            <a:off x="9008197" y="4808491"/>
            <a:ext cx="2761308" cy="95410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High temperatures during blanching denature the enzymes and prevent the enzymes from functioning correctly</a:t>
            </a:r>
          </a:p>
        </p:txBody>
      </p:sp>
    </p:spTree>
    <p:extLst>
      <p:ext uri="{BB962C8B-B14F-4D97-AF65-F5344CB8AC3E}">
        <p14:creationId xmlns:p14="http://schemas.microsoft.com/office/powerpoint/2010/main" val="34102252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D0F388-1AED-A299-E614-C6A84905AD5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Refrigeration and freez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665282-E317-C20B-46E2-966005E09A8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7037206" cy="3600000"/>
          </a:xfrm>
        </p:spPr>
        <p:txBody>
          <a:bodyPr/>
          <a:lstStyle/>
          <a:p>
            <a:pPr marL="0" indent="0">
              <a:buNone/>
            </a:pPr>
            <a:r>
              <a:rPr lang="en-GB">
                <a:latin typeface="Arial"/>
                <a:cs typeface="Arial"/>
              </a:rPr>
              <a:t>Refrigeration and freezing do not prevent PPO from working, but they do slow down the rate at which it catalyses reactions.</a:t>
            </a:r>
          </a:p>
          <a:p>
            <a:pPr marL="0" indent="0">
              <a:buNone/>
            </a:pPr>
            <a:r>
              <a:rPr lang="en-GB">
                <a:latin typeface="Arial"/>
                <a:cs typeface="Arial"/>
              </a:rPr>
              <a:t>Therefore, this can increase the time taken for browning to occur, allowing food to be used before it becomes unappealing.</a:t>
            </a:r>
            <a:endParaRPr lang="en-GB"/>
          </a:p>
          <a:p>
            <a:pPr marL="0" indent="0">
              <a:buNone/>
            </a:pPr>
            <a:r>
              <a:rPr lang="en-GB"/>
              <a:t>However, freezing can damage the cells in fruit and vegetables and lead to more rapid browning after thawing, unless they have been </a:t>
            </a:r>
            <a:r>
              <a:rPr lang="en-GB" b="1"/>
              <a:t>blanched</a:t>
            </a:r>
            <a:r>
              <a:rPr lang="en-GB"/>
              <a:t>.</a:t>
            </a:r>
          </a:p>
          <a:p>
            <a:pPr marL="0" indent="0">
              <a:buNone/>
            </a:pPr>
            <a:r>
              <a:rPr lang="en-GB"/>
              <a:t>Fruit and vegetables with higher water contents to be eaten raw (e.g. lettuce) are not suitable for freezing, as they become damaged by ice crystals during freezing.</a:t>
            </a:r>
          </a:p>
          <a:p>
            <a:pPr marL="0" indent="0">
              <a:buNone/>
            </a:pPr>
            <a:endParaRPr lang="en-GB"/>
          </a:p>
          <a:p>
            <a:pPr marL="0" indent="0">
              <a:buNone/>
            </a:pPr>
            <a:endParaRPr lang="en-GB"/>
          </a:p>
        </p:txBody>
      </p: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20716ED3-36CE-4322-91E3-11220169F1F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616" t="37456" r="72833" b="42046"/>
          <a:stretch/>
        </p:blipFill>
        <p:spPr>
          <a:xfrm>
            <a:off x="8510256" y="2049509"/>
            <a:ext cx="3340544" cy="2758982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BD1FF4A3-7732-4698-8925-8CED1E8B3556}"/>
              </a:ext>
            </a:extLst>
          </p:cNvPr>
          <p:cNvCxnSpPr>
            <a:cxnSpLocks/>
          </p:cNvCxnSpPr>
          <p:nvPr/>
        </p:nvCxnSpPr>
        <p:spPr>
          <a:xfrm flipH="1">
            <a:off x="9252642" y="3811509"/>
            <a:ext cx="289710" cy="996982"/>
          </a:xfrm>
          <a:prstGeom prst="straightConnector1">
            <a:avLst/>
          </a:prstGeom>
          <a:ln w="38100">
            <a:solidFill>
              <a:srgbClr val="FF000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BD147FE-DBCC-4E61-85D1-762F2A23080D}"/>
              </a:ext>
            </a:extLst>
          </p:cNvPr>
          <p:cNvSpPr txBox="1"/>
          <p:nvPr/>
        </p:nvSpPr>
        <p:spPr>
          <a:xfrm>
            <a:off x="8944823" y="4808491"/>
            <a:ext cx="2761308" cy="95410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Low temperatures during refrigeration or freezing slows the rate of reaction caused by the enzymes.</a:t>
            </a:r>
          </a:p>
        </p:txBody>
      </p:sp>
    </p:spTree>
    <p:extLst>
      <p:ext uri="{BB962C8B-B14F-4D97-AF65-F5344CB8AC3E}">
        <p14:creationId xmlns:p14="http://schemas.microsoft.com/office/powerpoint/2010/main" val="7649908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56DC22-08AB-0D91-7AB6-8D24F66397B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Introduction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08F7FAB-511F-7730-95EA-CDCD608276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6277833" cy="3600000"/>
          </a:xfrm>
        </p:spPr>
        <p:txBody>
          <a:bodyPr/>
          <a:lstStyle/>
          <a:p>
            <a:pPr marL="0" indent="0">
              <a:buNone/>
            </a:pPr>
            <a:r>
              <a:rPr lang="en-US"/>
              <a:t>Enzymic browning is caused by enzymes.</a:t>
            </a:r>
          </a:p>
          <a:p>
            <a:pPr marL="0" indent="0">
              <a:buNone/>
            </a:pPr>
            <a:r>
              <a:rPr lang="en-US"/>
              <a:t>Enzymes are proteins that catalyse (speed up) reactions.</a:t>
            </a:r>
          </a:p>
          <a:p>
            <a:pPr marL="0" indent="0">
              <a:buNone/>
            </a:pPr>
            <a:r>
              <a:rPr lang="en-US"/>
              <a:t>An easy way to see enzymic browning is to cut an apple in half and leave it for a short time.</a:t>
            </a:r>
          </a:p>
          <a:p>
            <a:pPr marL="0" indent="0">
              <a:buNone/>
            </a:pPr>
            <a:r>
              <a:rPr lang="en-US"/>
              <a:t>You will see that it quickly begins to brown.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86C749E3-951D-48B7-AC0D-E75B5DA10A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4021" y="2435289"/>
            <a:ext cx="3582108" cy="2761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17727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EA6281-391E-66E2-1DB3-80FC7F3BDEE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Acidulation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064AF50-EC9A-5285-EC07-7CD21438E9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6986325" cy="3600000"/>
          </a:xfrm>
        </p:spPr>
        <p:txBody>
          <a:bodyPr/>
          <a:lstStyle/>
          <a:p>
            <a:pPr marL="0" indent="0">
              <a:buNone/>
            </a:pPr>
            <a:r>
              <a:rPr lang="en-US">
                <a:latin typeface="Arial"/>
                <a:cs typeface="Arial"/>
              </a:rPr>
              <a:t>Acids lower the pH of a food. Acids can denature PPO and prevent it from working as effectively.</a:t>
            </a:r>
          </a:p>
          <a:p>
            <a:pPr marL="0" indent="0">
              <a:buNone/>
            </a:pPr>
            <a:r>
              <a:rPr lang="en-US">
                <a:latin typeface="Arial"/>
                <a:cs typeface="Arial"/>
              </a:rPr>
              <a:t>A common example used in classroom demonstrations is lemon juice. </a:t>
            </a:r>
          </a:p>
          <a:p>
            <a:pPr marL="0" indent="0">
              <a:buNone/>
            </a:pPr>
            <a:r>
              <a:rPr lang="en-US">
                <a:latin typeface="Arial"/>
                <a:cs typeface="Arial"/>
              </a:rPr>
              <a:t>Not only does lemon juice lower the pH and slow the browning reaction, it also contains ascorbic acid (vitamin C), which can act as an antioxidant, further slowing the reaction.</a:t>
            </a:r>
            <a:endParaRPr lang="en-US"/>
          </a:p>
        </p:txBody>
      </p: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DCFCA221-29AC-4E11-B474-BB663841325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120" t="35873" r="32036" b="44325"/>
          <a:stretch/>
        </p:blipFill>
        <p:spPr>
          <a:xfrm>
            <a:off x="8655111" y="2013295"/>
            <a:ext cx="2818955" cy="2659392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3963AA22-0FEB-4D90-8DA5-AC84C7AB218E}"/>
              </a:ext>
            </a:extLst>
          </p:cNvPr>
          <p:cNvCxnSpPr>
            <a:cxnSpLocks/>
          </p:cNvCxnSpPr>
          <p:nvPr/>
        </p:nvCxnSpPr>
        <p:spPr>
          <a:xfrm flipH="1">
            <a:off x="9252642" y="4128380"/>
            <a:ext cx="244443" cy="680111"/>
          </a:xfrm>
          <a:prstGeom prst="straightConnector1">
            <a:avLst/>
          </a:prstGeom>
          <a:ln w="38100">
            <a:solidFill>
              <a:srgbClr val="FF000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2A6216CF-87A2-41A9-BB3C-C3E6FE558FD7}"/>
              </a:ext>
            </a:extLst>
          </p:cNvPr>
          <p:cNvSpPr txBox="1"/>
          <p:nvPr/>
        </p:nvSpPr>
        <p:spPr>
          <a:xfrm>
            <a:off x="8944823" y="4808491"/>
            <a:ext cx="2761308" cy="30777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Low pH </a:t>
            </a:r>
          </a:p>
        </p:txBody>
      </p:sp>
    </p:spTree>
    <p:extLst>
      <p:ext uri="{BB962C8B-B14F-4D97-AF65-F5344CB8AC3E}">
        <p14:creationId xmlns:p14="http://schemas.microsoft.com/office/powerpoint/2010/main" val="382856742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902433-BE09-580A-3E8C-C0DDD80ACC8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Desirable enzymic browning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2844BDE-4E6A-0B46-4D93-2FCABBF069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9277" y="2571092"/>
            <a:ext cx="6689132" cy="3600000"/>
          </a:xfrm>
        </p:spPr>
        <p:txBody>
          <a:bodyPr/>
          <a:lstStyle/>
          <a:p>
            <a:pPr marL="0" indent="0">
              <a:buNone/>
            </a:pPr>
            <a:r>
              <a:rPr lang="en-GB" dirty="0">
                <a:latin typeface="Arial"/>
                <a:cs typeface="Arial"/>
              </a:rPr>
              <a:t>Most enzymic browning is undesirable, as it causes fruit and vegetables to be less appealing (though not dangerous to eat).</a:t>
            </a:r>
          </a:p>
          <a:p>
            <a:pPr marL="0" indent="0">
              <a:buNone/>
            </a:pPr>
            <a:r>
              <a:rPr lang="en-GB" dirty="0">
                <a:latin typeface="Arial"/>
                <a:cs typeface="Arial"/>
              </a:rPr>
              <a:t>However, in some circumstances, enzymic browning can be desirable.</a:t>
            </a:r>
          </a:p>
          <a:p>
            <a:pPr marL="0" indent="0">
              <a:buNone/>
            </a:pPr>
            <a:r>
              <a:rPr lang="en-GB" dirty="0">
                <a:latin typeface="Arial"/>
                <a:cs typeface="Arial"/>
              </a:rPr>
              <a:t>Examples include: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GB" dirty="0">
                <a:latin typeface="Arial"/>
                <a:cs typeface="Arial"/>
              </a:rPr>
              <a:t>fermentation of green to black tea;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GB" dirty="0">
                <a:latin typeface="Arial"/>
                <a:cs typeface="Arial"/>
              </a:rPr>
              <a:t>development of colour and flavour in some dried fruits, including figs, dates, prunes and raisins.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endParaRPr lang="en-GB" dirty="0">
              <a:latin typeface="Arial"/>
              <a:cs typeface="Arial"/>
            </a:endParaRPr>
          </a:p>
          <a:p>
            <a:pPr marL="800100" lvl="1" indent="-342900" algn="l">
              <a:buFont typeface="Arial" panose="020B0604020202020204" pitchFamily="34" charset="0"/>
              <a:buChar char="•"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F1E0062D-F37E-447C-BDEA-748BF2812C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8231" y="2634559"/>
            <a:ext cx="3564644" cy="2377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02605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B8B1D9-E25C-F40A-522B-54113616FBD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Enzymic browning - resources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CAB9D22-B491-9AFA-4800-DD173F69AF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9274" y="2364263"/>
            <a:ext cx="9720000" cy="3600000"/>
          </a:xfrm>
        </p:spPr>
        <p:txBody>
          <a:bodyPr/>
          <a:lstStyle/>
          <a:p>
            <a:pPr marL="0" indent="0">
              <a:buNone/>
            </a:pPr>
            <a:r>
              <a:rPr lang="en-GB" b="1" i="1" dirty="0">
                <a:latin typeface="Arial"/>
                <a:cs typeface="Arial"/>
              </a:rPr>
              <a:t>Food – a fact of life </a:t>
            </a:r>
            <a:r>
              <a:rPr lang="en-GB" b="1" dirty="0">
                <a:latin typeface="Arial"/>
                <a:cs typeface="Arial"/>
              </a:rPr>
              <a:t>resources</a:t>
            </a:r>
          </a:p>
          <a:p>
            <a:pPr marL="342900" indent="-342900"/>
            <a:r>
              <a:rPr lang="en-GB" dirty="0">
                <a:latin typeface="Arial"/>
                <a:cs typeface="Arial"/>
              </a:rPr>
              <a:t>Use the </a:t>
            </a:r>
            <a:r>
              <a:rPr lang="en-GB" dirty="0">
                <a:latin typeface="Arial"/>
                <a:cs typeface="Arial"/>
                <a:hlinkClick r:id="rId2"/>
              </a:rPr>
              <a:t>Enzymic browning worksheet</a:t>
            </a:r>
            <a:r>
              <a:rPr lang="en-GB" dirty="0">
                <a:latin typeface="Arial"/>
                <a:cs typeface="Arial"/>
              </a:rPr>
              <a:t> to demonstrate enzymic browning and discover how it can be prevented or reduced.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Arial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Resources around food science can be found here: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hlinkClick r:id="rId3"/>
              </a:rPr>
              <a:t>11-14 year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,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hlinkClick r:id="rId4"/>
              </a:rPr>
              <a:t>14-16 year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cs typeface="Arial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Arial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Further information, support and resources around functional characteristics of ingredients can be found here 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hlinkClick r:id="rId5"/>
              </a:rPr>
              <a:t>11-14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 and 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hlinkClick r:id="rId6"/>
              </a:rPr>
              <a:t>14-16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.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cs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Arial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Ingredients - functional characteristics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hlinkClick r:id="rId7"/>
              </a:rPr>
              <a:t>Knowledge Organiser 11-14</a:t>
            </a:r>
            <a:endParaRPr lang="en-GB" dirty="0">
              <a:latin typeface="Arial"/>
              <a:cs typeface="Arial"/>
            </a:endParaRPr>
          </a:p>
          <a:p>
            <a:pPr marL="0" indent="0">
              <a:buNone/>
            </a:pPr>
            <a:r>
              <a:rPr lang="en-GB" b="1" dirty="0">
                <a:latin typeface="Arial"/>
                <a:cs typeface="Arial"/>
              </a:rPr>
              <a:t>External resources</a:t>
            </a:r>
            <a:endParaRPr lang="en-GB" b="1" dirty="0">
              <a:cs typeface="Arial"/>
            </a:endParaRPr>
          </a:p>
          <a:p>
            <a:pPr>
              <a:buFont typeface="Arial"/>
              <a:buChar char="•"/>
            </a:pPr>
            <a:r>
              <a:rPr lang="en-GB" dirty="0">
                <a:latin typeface="Arial"/>
                <a:cs typeface="Arial"/>
              </a:rPr>
              <a:t>IFST – </a:t>
            </a:r>
            <a:r>
              <a:rPr lang="en-GB" dirty="0">
                <a:latin typeface="Arial"/>
                <a:cs typeface="Arial"/>
                <a:hlinkClick r:id="rId8"/>
              </a:rPr>
              <a:t>Fruit and vegetables: enzymic browning</a:t>
            </a:r>
            <a:endParaRPr lang="en-GB" dirty="0"/>
          </a:p>
          <a:p>
            <a:pPr>
              <a:buFont typeface="Arial"/>
              <a:buChar char="•"/>
            </a:pPr>
            <a:r>
              <a:rPr lang="en-GB" dirty="0"/>
              <a:t>Food and drink federation (FDF) – </a:t>
            </a:r>
            <a:r>
              <a:rPr lang="en-GB" dirty="0">
                <a:hlinkClick r:id="rId9"/>
              </a:rPr>
              <a:t>Enzymic browning (video)</a:t>
            </a: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342900" indent="-342900"/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0A057EF-05C3-0286-F82D-DF0B2A292845}"/>
              </a:ext>
            </a:extLst>
          </p:cNvPr>
          <p:cNvSpPr txBox="1"/>
          <p:nvPr/>
        </p:nvSpPr>
        <p:spPr>
          <a:xfrm>
            <a:off x="1017409" y="6335275"/>
            <a:ext cx="68707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>
                <a:solidFill>
                  <a:srgbClr val="263143"/>
                </a:solidFill>
                <a:latin typeface="Roboto" panose="02000000000000000000" pitchFamily="2" charset="0"/>
              </a:rPr>
              <a:t>Teachers </a:t>
            </a:r>
            <a:r>
              <a:rPr lang="en-GB" sz="1000" b="0" i="0">
                <a:solidFill>
                  <a:srgbClr val="263143"/>
                </a:solidFill>
                <a:effectLst/>
                <a:latin typeface="Roboto" panose="02000000000000000000" pitchFamily="2" charset="0"/>
              </a:rPr>
              <a:t>will need to decide on the level of complexity of the tasks chosen, depending on age, stage and need, and considering progression.</a:t>
            </a:r>
            <a:endParaRPr lang="en-GB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87817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B8B1D9-E25C-F40A-522B-54113616FBD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Enzymic browning - recipes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CAB9D22-B491-9AFA-4800-DD173F69AF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6005991" cy="3600000"/>
          </a:xfrm>
        </p:spPr>
        <p:txBody>
          <a:bodyPr/>
          <a:lstStyle/>
          <a:p>
            <a:pPr marL="0" indent="0">
              <a:buNone/>
            </a:pPr>
            <a:r>
              <a:rPr lang="en-GB" dirty="0">
                <a:latin typeface="Arial"/>
                <a:cs typeface="Arial"/>
              </a:rPr>
              <a:t>The recipes below can be used to demonstrate enzymic browning, or how it can be prevented:</a:t>
            </a:r>
          </a:p>
          <a:p>
            <a:pPr marL="628650" indent="-342900"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Fabulous fruit salad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 (or similar chopped/sliced fruit recipes). Orange juice or lemon juice can be used to reduce browning. </a:t>
            </a:r>
          </a:p>
          <a:p>
            <a:pPr marL="628650" indent="-342900"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Mini ham and onion </a:t>
            </a:r>
            <a:r>
              <a:rPr lang="en-GB" dirty="0" err="1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rostis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– focus on quickly progressing with the recipe to prevent the browning of the raw potato, or use lemon juice or vinegar to slow browning down.</a:t>
            </a:r>
          </a:p>
          <a:p>
            <a:pPr marL="628650" indent="-342900"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Guacamole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 – explain how adding the lime juice prevents the guacamole from quickly turning brown. You could make a small amount without lime juice and show the difference in colour.</a:t>
            </a:r>
          </a:p>
          <a:p>
            <a:pPr marL="0" indent="0">
              <a:buNone/>
            </a:pP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/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58D5D1B-1CE3-4B97-6FA3-884B7FE5E94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58262" y="3613114"/>
            <a:ext cx="4446191" cy="1582675"/>
          </a:xfrm>
          <a:prstGeom prst="rect">
            <a:avLst/>
          </a:prstGeom>
          <a:ln>
            <a:solidFill>
              <a:srgbClr val="FCC241"/>
            </a:solidFill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D88D32D-D2F0-2CBF-9339-E85E1A600763}"/>
              </a:ext>
            </a:extLst>
          </p:cNvPr>
          <p:cNvSpPr txBox="1"/>
          <p:nvPr/>
        </p:nvSpPr>
        <p:spPr>
          <a:xfrm>
            <a:off x="9823775" y="2898148"/>
            <a:ext cx="2200080" cy="600164"/>
          </a:xfrm>
          <a:prstGeom prst="rect">
            <a:avLst/>
          </a:prstGeom>
          <a:solidFill>
            <a:srgbClr val="FCC24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GB" sz="1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to the </a:t>
            </a:r>
            <a:r>
              <a:rPr lang="en-GB" sz="1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recipes</a:t>
            </a:r>
            <a:r>
              <a:rPr lang="en-GB" sz="1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ction and filter Food Skills for more recipes.</a:t>
            </a:r>
          </a:p>
        </p:txBody>
      </p:sp>
      <p:pic>
        <p:nvPicPr>
          <p:cNvPr id="6" name="Picture 5" descr="Shape&#10;&#10;Description automatically generated with low confidence">
            <a:extLst>
              <a:ext uri="{FF2B5EF4-FFF2-40B4-BE49-F238E27FC236}">
                <a16:creationId xmlns:a16="http://schemas.microsoft.com/office/drawing/2014/main" id="{16AA8EFD-83CF-A254-D427-99A33A0807B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611979">
            <a:off x="11160419" y="3440423"/>
            <a:ext cx="439660" cy="79422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65638844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A84C499-0517-4887-96DB-81C9129ABB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9945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A84C499-0517-4887-96DB-81C9129ABB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Enzymic browning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83771" y="3065488"/>
            <a:ext cx="11136085" cy="3087973"/>
          </a:xfrm>
        </p:spPr>
        <p:txBody>
          <a:bodyPr/>
          <a:lstStyle/>
          <a:p>
            <a:pPr marL="0" indent="0" algn="ctr">
              <a:buNone/>
            </a:pPr>
            <a:r>
              <a:rPr lang="en-GB" sz="3600" dirty="0"/>
              <a:t>For further information, go to:</a:t>
            </a:r>
          </a:p>
          <a:p>
            <a:pPr marL="0" indent="0" algn="ctr">
              <a:buNone/>
            </a:pPr>
            <a:r>
              <a:rPr lang="en-GB" sz="3600" dirty="0">
                <a:hlinkClick r:id="rId5"/>
              </a:rPr>
              <a:t>www.foodafactoflife.org.uk</a:t>
            </a:r>
            <a:endParaRPr lang="en-GB" sz="3600" dirty="0"/>
          </a:p>
          <a:p>
            <a:pPr marL="0" indent="0" algn="ctr">
              <a:buNone/>
            </a:pPr>
            <a:endParaRPr lang="en-GB" sz="1800" kern="1200" dirty="0">
              <a:solidFill>
                <a:srgbClr val="000000"/>
              </a:solidFill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0" indent="0" algn="ctr">
              <a:buNone/>
            </a:pPr>
            <a:endParaRPr lang="en-GB" sz="1800" kern="1200" dirty="0">
              <a:solidFill>
                <a:srgbClr val="000000"/>
              </a:solidFill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0" indent="0" algn="ctr">
              <a:buNone/>
            </a:pPr>
            <a:r>
              <a:rPr lang="en-GB" sz="14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This food science pack is one of a series of resources produced for the </a:t>
            </a:r>
            <a:r>
              <a:rPr lang="en-GB" sz="1400" i="1" kern="12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pHood</a:t>
            </a:r>
            <a:r>
              <a:rPr lang="en-GB" sz="1400" i="1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Futures </a:t>
            </a:r>
            <a:r>
              <a:rPr lang="en-GB" sz="14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project, supported by the Royal Society of Chemistry.</a:t>
            </a:r>
            <a:endParaRPr lang="en-GB" sz="14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 algn="ctr">
              <a:buNone/>
            </a:pPr>
            <a:endParaRPr lang="en-GB" sz="36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8C3A9D8-F056-4907-ADD0-8B883B971968}"/>
              </a:ext>
            </a:extLst>
          </p:cNvPr>
          <p:cNvSpPr txBox="1"/>
          <p:nvPr/>
        </p:nvSpPr>
        <p:spPr>
          <a:xfrm>
            <a:off x="486577" y="6116351"/>
            <a:ext cx="99043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This resource meets the</a:t>
            </a:r>
            <a:r>
              <a:rPr lang="en-GB" sz="1400" b="1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b="1" i="1" u="sng"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Guidelines for producers and users of school education resources about food</a:t>
            </a:r>
            <a:r>
              <a:rPr lang="en-GB" sz="1400" b="1" i="1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GB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20051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656FD1-4489-F55F-822B-620888FD55A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The science of Enzymic brown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E28E501-5A4E-D1A3-A7D8-65D153A748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6545419" cy="3600000"/>
          </a:xfrm>
        </p:spPr>
        <p:txBody>
          <a:bodyPr/>
          <a:lstStyle/>
          <a:p>
            <a:pPr marL="0" indent="0">
              <a:buNone/>
            </a:pPr>
            <a:endParaRPr lang="en-GB"/>
          </a:p>
          <a:p>
            <a:pPr marL="0" indent="0">
              <a:buNone/>
            </a:pP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37F21B2D-0E3B-42DC-85A8-4511EB39D461}"/>
              </a:ext>
            </a:extLst>
          </p:cNvPr>
          <p:cNvSpPr txBox="1">
            <a:spLocks/>
          </p:cNvSpPr>
          <p:nvPr/>
        </p:nvSpPr>
        <p:spPr>
          <a:xfrm>
            <a:off x="1169277" y="2571092"/>
            <a:ext cx="5847160" cy="3600000"/>
          </a:xfrm>
          <a:prstGeom prst="rect">
            <a:avLst/>
          </a:prstGeom>
        </p:spPr>
        <p:txBody>
          <a:bodyPr lIns="0" tIns="0" rIns="0" bIns="0" numCol="1" anchor="t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90000"/>
              <a:buFont typeface="Arial" charset="0"/>
              <a:buChar char="•"/>
              <a:defRPr sz="2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en-US"/>
              <a:t>The rapid browning of fruit (particularly when cut) is to do with enzymes that are contained within.</a:t>
            </a:r>
          </a:p>
          <a:p>
            <a:pPr marL="0" indent="0">
              <a:buFont typeface="Arial" charset="0"/>
              <a:buNone/>
            </a:pPr>
            <a:r>
              <a:rPr lang="en-US"/>
              <a:t>For example, when an apple is cut, some of the cells are broken and the enzymes are released.</a:t>
            </a:r>
          </a:p>
          <a:p>
            <a:pPr marL="0" indent="0">
              <a:buFont typeface="Arial" charset="0"/>
              <a:buNone/>
            </a:pPr>
            <a:r>
              <a:rPr lang="en-US"/>
              <a:t>These enzymes are now exposed to oxygen and other molecules and catalyse a rapid browning reaction.</a:t>
            </a:r>
          </a:p>
          <a:p>
            <a:pPr marL="0" indent="0">
              <a:buFont typeface="Arial" charset="0"/>
              <a:buNone/>
            </a:pPr>
            <a:r>
              <a:rPr lang="en-US"/>
              <a:t>Whilst browning may make the food look less appealing, it is not dangerous and the food is still edible.</a:t>
            </a:r>
          </a:p>
          <a:p>
            <a:pPr marL="0" indent="0">
              <a:buFont typeface="Arial" charset="0"/>
              <a:buNone/>
            </a:pPr>
            <a:endParaRPr lang="en-US"/>
          </a:p>
          <a:p>
            <a:pPr marL="0" indent="0">
              <a:buFont typeface="Arial" charset="0"/>
              <a:buNone/>
            </a:pPr>
            <a:endParaRPr lang="en-US"/>
          </a:p>
          <a:p>
            <a:pPr marL="0" indent="0">
              <a:buFont typeface="Arial" charset="0"/>
              <a:buNone/>
            </a:pPr>
            <a:endParaRPr lang="en-US"/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D3E4E176-8338-46ED-93E7-BF00525E85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7109" y="2283798"/>
            <a:ext cx="4404880" cy="3171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9149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8F01D9-49FA-6C29-3674-01A422037CD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Enzymic browning vs non-enzymic brown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1F1639A-5BD0-7C4B-622B-50E9B9EA0E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9277" y="2571092"/>
            <a:ext cx="7024110" cy="3600000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Many types of browning in foods are ‘non-enzymic’. These include:</a:t>
            </a:r>
          </a:p>
          <a:p>
            <a:r>
              <a:rPr lang="en-GB" dirty="0" err="1"/>
              <a:t>dextrinisation</a:t>
            </a:r>
            <a:r>
              <a:rPr lang="en-GB" dirty="0"/>
              <a:t>;</a:t>
            </a:r>
          </a:p>
          <a:p>
            <a:r>
              <a:rPr lang="en-GB" dirty="0"/>
              <a:t>caramelisation;</a:t>
            </a:r>
          </a:p>
          <a:p>
            <a:r>
              <a:rPr lang="en-GB" dirty="0" err="1"/>
              <a:t>maillard</a:t>
            </a:r>
            <a:r>
              <a:rPr lang="en-GB" dirty="0"/>
              <a:t> reaction.</a:t>
            </a:r>
          </a:p>
          <a:p>
            <a:pPr marL="0" indent="0">
              <a:buNone/>
            </a:pPr>
            <a:r>
              <a:rPr lang="en-GB" dirty="0"/>
              <a:t>None of the above are catalysed by enzymes. In addition, most non-enzymic browning is desirable.</a:t>
            </a:r>
          </a:p>
          <a:p>
            <a:pPr marL="0" indent="0">
              <a:buNone/>
            </a:pPr>
            <a:r>
              <a:rPr lang="en-GB" dirty="0"/>
              <a:t>In most (but not all) cases, enzymic browning is unwanted.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7" name="Picture 6" descr="A loaf of bread&#10;&#10;Description automatically generated with medium confidence">
            <a:extLst>
              <a:ext uri="{FF2B5EF4-FFF2-40B4-BE49-F238E27FC236}">
                <a16:creationId xmlns:a16="http://schemas.microsoft.com/office/drawing/2014/main" id="{AD589BE0-4090-487A-9A6C-B1F411F45B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93387" y="2880433"/>
            <a:ext cx="3649814" cy="2605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54410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0B81A-2823-8056-34AE-B3308191DF5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Desirable enzymic brown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3B4885A-37FC-0B67-2285-D9A9B9DC8C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5995004" cy="3600000"/>
          </a:xfrm>
        </p:spPr>
        <p:txBody>
          <a:bodyPr/>
          <a:lstStyle/>
          <a:p>
            <a:pPr marL="0" indent="0">
              <a:buNone/>
            </a:pPr>
            <a:r>
              <a:rPr lang="en-GB">
                <a:latin typeface="Arial"/>
                <a:cs typeface="Arial"/>
              </a:rPr>
              <a:t>Although most enzymic browning is unwanted (e.g. bruised or cut fruit), sometimes it can be useful.</a:t>
            </a:r>
          </a:p>
          <a:p>
            <a:pPr marL="0" indent="0">
              <a:buNone/>
            </a:pPr>
            <a:r>
              <a:rPr lang="en-GB">
                <a:latin typeface="Arial"/>
                <a:cs typeface="Arial"/>
              </a:rPr>
              <a:t>Black tea makes use of enzymic browning to develop its flavours.</a:t>
            </a:r>
          </a:p>
          <a:p>
            <a:pPr marL="0" indent="0">
              <a:buNone/>
            </a:pPr>
            <a:r>
              <a:rPr lang="en-GB">
                <a:latin typeface="Arial"/>
                <a:cs typeface="Arial"/>
              </a:rPr>
              <a:t>Green tea stays green because it is treated after picking to stop the browning reaction from taking place.</a:t>
            </a:r>
          </a:p>
          <a:p>
            <a:pPr marL="0" indent="0">
              <a:buNone/>
            </a:pPr>
            <a:r>
              <a:rPr lang="en-GB">
                <a:latin typeface="Arial"/>
                <a:cs typeface="Arial"/>
              </a:rPr>
              <a:t>Some dried fruits (e.g. prunes and raisins) also use enzymic browning for their colour and flavour.</a:t>
            </a:r>
            <a:endParaRPr lang="en-GB"/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4E8EE500-503D-43C4-A91C-2151635CF2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8231" y="2634559"/>
            <a:ext cx="3564644" cy="2377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53099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FEA9C0-24EE-EB05-6ED1-A7679B590EE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Preventing unwanted brown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5ECF5C8-B231-B34A-F7D8-C96CD9FECA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9275" y="2571092"/>
            <a:ext cx="6227405" cy="3600000"/>
          </a:xfrm>
        </p:spPr>
        <p:txBody>
          <a:bodyPr/>
          <a:lstStyle/>
          <a:p>
            <a:pPr marL="0" indent="0">
              <a:buNone/>
            </a:pPr>
            <a:r>
              <a:rPr lang="en-GB" dirty="0">
                <a:latin typeface="Arial"/>
                <a:cs typeface="Arial"/>
              </a:rPr>
              <a:t>Enzymic browning can make food less appealing, meaning it is more likely to be thrown away.</a:t>
            </a:r>
          </a:p>
          <a:p>
            <a:pPr marL="0" indent="0">
              <a:buNone/>
            </a:pPr>
            <a:r>
              <a:rPr lang="en-GB" dirty="0">
                <a:latin typeface="Arial"/>
                <a:cs typeface="Arial"/>
              </a:rPr>
              <a:t>This means that preventing enzymic browning can be important to reduce food waste.</a:t>
            </a:r>
          </a:p>
          <a:p>
            <a:pPr marL="0" indent="0">
              <a:buNone/>
            </a:pPr>
            <a:r>
              <a:rPr lang="en-GB" dirty="0">
                <a:latin typeface="Arial"/>
                <a:cs typeface="Arial"/>
              </a:rPr>
              <a:t>There are several methods that can be used to prevent or reduce unwanted enzymic browning, including:</a:t>
            </a:r>
          </a:p>
          <a:p>
            <a:r>
              <a:rPr lang="en-GB" dirty="0">
                <a:latin typeface="Arial"/>
                <a:cs typeface="Arial"/>
              </a:rPr>
              <a:t>blanching;</a:t>
            </a:r>
          </a:p>
          <a:p>
            <a:r>
              <a:rPr lang="en-GB" dirty="0">
                <a:latin typeface="Arial"/>
                <a:cs typeface="Arial"/>
              </a:rPr>
              <a:t>refrigeration or freezing;</a:t>
            </a:r>
          </a:p>
          <a:p>
            <a:r>
              <a:rPr lang="en-GB" dirty="0">
                <a:latin typeface="Arial"/>
                <a:cs typeface="Arial"/>
              </a:rPr>
              <a:t>acidulation.</a:t>
            </a: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6" name="Picture 5" descr="A picture containing bowl, food, pan, pot&#10;&#10;Description automatically generated">
            <a:extLst>
              <a:ext uri="{FF2B5EF4-FFF2-40B4-BE49-F238E27FC236}">
                <a16:creationId xmlns:a16="http://schemas.microsoft.com/office/drawing/2014/main" id="{B5DA4EED-71FE-4FFF-9D8D-9F8B7293DC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91691" y="2952300"/>
            <a:ext cx="3511098" cy="2341902"/>
          </a:xfrm>
          <a:prstGeom prst="rect">
            <a:avLst/>
          </a:prstGeom>
          <a:ln w="28575">
            <a:solidFill>
              <a:srgbClr val="EF9F3F"/>
            </a:solidFill>
          </a:ln>
        </p:spPr>
      </p:pic>
    </p:spTree>
    <p:extLst>
      <p:ext uri="{BB962C8B-B14F-4D97-AF65-F5344CB8AC3E}">
        <p14:creationId xmlns:p14="http://schemas.microsoft.com/office/powerpoint/2010/main" val="15770865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Diagram&#10;&#10;Description automatically generated">
            <a:extLst>
              <a:ext uri="{FF2B5EF4-FFF2-40B4-BE49-F238E27FC236}">
                <a16:creationId xmlns:a16="http://schemas.microsoft.com/office/drawing/2014/main" id="{A5CA9058-D510-4993-A9ED-7CB8F0663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1651" b="42046"/>
          <a:stretch/>
        </p:blipFill>
        <p:spPr>
          <a:xfrm>
            <a:off x="1394210" y="3967869"/>
            <a:ext cx="9697685" cy="248970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CFEA9C0-24EE-EB05-6ED1-A7679B590EE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Enzymes, temperature and pH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5ECF5C8-B231-B34A-F7D8-C96CD9FECA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9274" y="2283798"/>
            <a:ext cx="10147558" cy="1258524"/>
          </a:xfrm>
        </p:spPr>
        <p:txBody>
          <a:bodyPr/>
          <a:lstStyle/>
          <a:p>
            <a:pPr marL="0" indent="0">
              <a:buNone/>
            </a:pPr>
            <a:r>
              <a:rPr lang="en-GB">
                <a:latin typeface="Arial"/>
                <a:cs typeface="Arial"/>
              </a:rPr>
              <a:t>Enzymes work best at specific temperatures and pH (level of acidity/alkalinity).</a:t>
            </a:r>
          </a:p>
          <a:p>
            <a:r>
              <a:rPr lang="en-GB">
                <a:latin typeface="Arial"/>
                <a:cs typeface="Arial"/>
              </a:rPr>
              <a:t>Below their optimum temperature, enzymes work more slowly.</a:t>
            </a:r>
          </a:p>
          <a:p>
            <a:r>
              <a:rPr lang="en-GB">
                <a:latin typeface="Arial"/>
                <a:cs typeface="Arial"/>
              </a:rPr>
              <a:t>Above their optimum temperature, enzymes are denatured and stop working.</a:t>
            </a:r>
          </a:p>
          <a:p>
            <a:r>
              <a:rPr lang="en-GB">
                <a:latin typeface="Arial"/>
                <a:cs typeface="Arial"/>
              </a:rPr>
              <a:t>Above or below their optimum pH, enzymes can also be interfered with or denatured.</a:t>
            </a:r>
            <a:endParaRPr lang="en-GB"/>
          </a:p>
          <a:p>
            <a:pPr marL="0" indent="0">
              <a:buNone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3867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E0D44B-2259-C19F-790A-E64A638ADA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Blanching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A1ACDE8-06F6-9A1F-FEA6-E8329882C2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6557700" cy="3600000"/>
          </a:xfrm>
        </p:spPr>
        <p:txBody>
          <a:bodyPr/>
          <a:lstStyle/>
          <a:p>
            <a:pPr marL="0" indent="0">
              <a:buNone/>
            </a:pPr>
            <a:r>
              <a:rPr lang="en-US">
                <a:latin typeface="Arial"/>
                <a:cs typeface="Arial"/>
              </a:rPr>
              <a:t>Blanching is a technique that involves quickly submerging a fruit or vegetable into boiling water.</a:t>
            </a:r>
          </a:p>
          <a:p>
            <a:pPr marL="0" indent="0">
              <a:buNone/>
            </a:pPr>
            <a:r>
              <a:rPr lang="en-US">
                <a:latin typeface="Arial"/>
                <a:cs typeface="Arial"/>
              </a:rPr>
              <a:t>The boiling water denatures the enzymes in the fruit or vegetable.</a:t>
            </a:r>
          </a:p>
          <a:p>
            <a:pPr marL="0" indent="0">
              <a:buNone/>
            </a:pPr>
            <a:r>
              <a:rPr lang="en-US">
                <a:latin typeface="Arial"/>
                <a:cs typeface="Arial"/>
              </a:rPr>
              <a:t>The fruit or vegetable is quickly removed and plunged into cold water to prevent cooking from continuing too far.</a:t>
            </a:r>
          </a:p>
          <a:p>
            <a:pPr marL="0" indent="0">
              <a:buNone/>
            </a:pPr>
            <a:r>
              <a:rPr lang="en-US">
                <a:latin typeface="Arial"/>
                <a:cs typeface="Arial"/>
              </a:rPr>
              <a:t>Blanching is a useful technique for freezing fruits and vegetables. Without blanching, freezing can cause some cells to rupture and enzymic browning occurs during thawing.</a:t>
            </a:r>
          </a:p>
          <a:p>
            <a:pPr marL="0" indent="0">
              <a:buNone/>
            </a:pPr>
            <a:endParaRPr lang="en-US">
              <a:latin typeface="Arial"/>
              <a:cs typeface="Arial"/>
            </a:endParaRP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</p:txBody>
      </p: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3E71CD65-71F4-43C3-B8AF-4A3A951DC28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616" t="37456" r="72833" b="42046"/>
          <a:stretch/>
        </p:blipFill>
        <p:spPr>
          <a:xfrm>
            <a:off x="8510256" y="2049509"/>
            <a:ext cx="3340544" cy="2758982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9766098F-B058-4857-809C-D33A706C1FDD}"/>
              </a:ext>
            </a:extLst>
          </p:cNvPr>
          <p:cNvCxnSpPr>
            <a:cxnSpLocks/>
          </p:cNvCxnSpPr>
          <p:nvPr/>
        </p:nvCxnSpPr>
        <p:spPr>
          <a:xfrm flipH="1">
            <a:off x="10753472" y="4074059"/>
            <a:ext cx="160918" cy="734432"/>
          </a:xfrm>
          <a:prstGeom prst="straightConnector1">
            <a:avLst/>
          </a:prstGeom>
          <a:ln w="38100">
            <a:solidFill>
              <a:srgbClr val="FF000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5D6F8204-A5D0-4993-A32A-69D3D0976CF9}"/>
              </a:ext>
            </a:extLst>
          </p:cNvPr>
          <p:cNvSpPr txBox="1"/>
          <p:nvPr/>
        </p:nvSpPr>
        <p:spPr>
          <a:xfrm>
            <a:off x="9008197" y="4808491"/>
            <a:ext cx="2761308" cy="95410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High temperatures during blanching denature the enzymes and prevent the enzymes from functioning correctly</a:t>
            </a:r>
          </a:p>
        </p:txBody>
      </p:sp>
    </p:spTree>
    <p:extLst>
      <p:ext uri="{BB962C8B-B14F-4D97-AF65-F5344CB8AC3E}">
        <p14:creationId xmlns:p14="http://schemas.microsoft.com/office/powerpoint/2010/main" val="5689581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D0F388-1AED-A299-E614-C6A84905AD5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Refrigeration and freez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665282-E317-C20B-46E2-966005E09A8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7037206" cy="3600000"/>
          </a:xfrm>
        </p:spPr>
        <p:txBody>
          <a:bodyPr/>
          <a:lstStyle/>
          <a:p>
            <a:pPr marL="0" indent="0">
              <a:buNone/>
            </a:pPr>
            <a:r>
              <a:rPr lang="en-GB">
                <a:latin typeface="Arial"/>
                <a:cs typeface="Arial"/>
              </a:rPr>
              <a:t>Refrigeration and freezing do not destroy enzymes.</a:t>
            </a:r>
          </a:p>
          <a:p>
            <a:pPr marL="0" indent="0">
              <a:buNone/>
            </a:pPr>
            <a:r>
              <a:rPr lang="en-GB">
                <a:latin typeface="Arial"/>
                <a:cs typeface="Arial"/>
              </a:rPr>
              <a:t>However, enzymes typically work less effectively at colder temperatures.</a:t>
            </a:r>
          </a:p>
          <a:p>
            <a:pPr marL="0" indent="0">
              <a:buNone/>
            </a:pPr>
            <a:r>
              <a:rPr lang="en-GB">
                <a:latin typeface="Arial"/>
                <a:cs typeface="Arial"/>
              </a:rPr>
              <a:t>This means that the browning reactions are slower when foods are refrigerated or frozen.</a:t>
            </a:r>
            <a:endParaRPr lang="en-GB"/>
          </a:p>
          <a:p>
            <a:pPr marL="0" indent="0">
              <a:buNone/>
            </a:pPr>
            <a:endParaRPr lang="en-GB"/>
          </a:p>
          <a:p>
            <a:pPr marL="0" indent="0">
              <a:buNone/>
            </a:pPr>
            <a:endParaRPr lang="en-GB"/>
          </a:p>
          <a:p>
            <a:pPr marL="0" indent="0">
              <a:buNone/>
            </a:pPr>
            <a:endParaRPr lang="en-GB"/>
          </a:p>
          <a:p>
            <a:pPr marL="0" indent="0">
              <a:buNone/>
            </a:pPr>
            <a:endParaRPr lang="en-GB"/>
          </a:p>
          <a:p>
            <a:pPr marL="0" indent="0">
              <a:buNone/>
            </a:pPr>
            <a:endParaRPr lang="en-GB"/>
          </a:p>
        </p:txBody>
      </p: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20716ED3-36CE-4322-91E3-11220169F1F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616" t="37456" r="72833" b="42046"/>
          <a:stretch/>
        </p:blipFill>
        <p:spPr>
          <a:xfrm>
            <a:off x="8510256" y="2049509"/>
            <a:ext cx="3340544" cy="2758982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BD1FF4A3-7732-4698-8925-8CED1E8B3556}"/>
              </a:ext>
            </a:extLst>
          </p:cNvPr>
          <p:cNvCxnSpPr>
            <a:cxnSpLocks/>
          </p:cNvCxnSpPr>
          <p:nvPr/>
        </p:nvCxnSpPr>
        <p:spPr>
          <a:xfrm flipH="1">
            <a:off x="9252642" y="3811509"/>
            <a:ext cx="289710" cy="996982"/>
          </a:xfrm>
          <a:prstGeom prst="straightConnector1">
            <a:avLst/>
          </a:prstGeom>
          <a:ln w="38100">
            <a:solidFill>
              <a:srgbClr val="FF000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BD147FE-DBCC-4E61-85D1-762F2A23080D}"/>
              </a:ext>
            </a:extLst>
          </p:cNvPr>
          <p:cNvSpPr txBox="1"/>
          <p:nvPr/>
        </p:nvSpPr>
        <p:spPr>
          <a:xfrm>
            <a:off x="8944823" y="4808491"/>
            <a:ext cx="2761308" cy="95410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Low temperatures during refrigeration or freezing slows the rate of reaction caused by the enzymes.</a:t>
            </a:r>
          </a:p>
        </p:txBody>
      </p:sp>
    </p:spTree>
    <p:extLst>
      <p:ext uri="{BB962C8B-B14F-4D97-AF65-F5344CB8AC3E}">
        <p14:creationId xmlns:p14="http://schemas.microsoft.com/office/powerpoint/2010/main" val="21009161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D5B78CA333243439763E4169A5FEB7F" ma:contentTypeVersion="17" ma:contentTypeDescription="Create a new document." ma:contentTypeScope="" ma:versionID="f2c597ebce0aa0fd5759700e14dd3adc">
  <xsd:schema xmlns:xsd="http://www.w3.org/2001/XMLSchema" xmlns:xs="http://www.w3.org/2001/XMLSchema" xmlns:p="http://schemas.microsoft.com/office/2006/metadata/properties" xmlns:ns2="c53071f4-7f44-43fd-895c-8e7b6a3746b0" xmlns:ns3="ead97cfe-a968-427f-b02b-893e6ba0355a" targetNamespace="http://schemas.microsoft.com/office/2006/metadata/properties" ma:root="true" ma:fieldsID="27039d98634059a90188b6cb8bc5e987" ns2:_="" ns3:_="">
    <xsd:import namespace="c53071f4-7f44-43fd-895c-8e7b6a3746b0"/>
    <xsd:import namespace="ead97cfe-a968-427f-b02b-893e6ba0355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_Flow_SignoffStatu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3071f4-7f44-43fd-895c-8e7b6a3746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_Flow_SignoffStatus" ma:index="21" nillable="true" ma:displayName="Sign-off status" ma:internalName="Sign_x002d_off_x0020_status">
      <xsd:simpleType>
        <xsd:restriction base="dms:Text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a407c16c-d400-4155-af4b-d0582c07d4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97cfe-a968-427f-b02b-893e6ba0355a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7b8b45f8-435e-402c-b129-c8853cba6318}" ma:internalName="TaxCatchAll" ma:showField="CatchAllData" ma:web="ead97cfe-a968-427f-b02b-893e6ba0355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c53071f4-7f44-43fd-895c-8e7b6a3746b0" xsi:nil="true"/>
    <_Flow_SignoffStatus xmlns="c53071f4-7f44-43fd-895c-8e7b6a3746b0" xsi:nil="true"/>
    <SharedWithUsers xmlns="ead97cfe-a968-427f-b02b-893e6ba0355a">
      <UserInfo>
        <DisplayName/>
        <AccountId xsi:nil="true"/>
        <AccountType/>
      </UserInfo>
    </SharedWithUsers>
    <TaxCatchAll xmlns="ead97cfe-a968-427f-b02b-893e6ba0355a" xsi:nil="true"/>
    <lcf76f155ced4ddcb4097134ff3c332f xmlns="c53071f4-7f44-43fd-895c-8e7b6a3746b0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229AB40-F358-4B1A-986D-FEFBCB7C788B}">
  <ds:schemaRefs>
    <ds:schemaRef ds:uri="c53071f4-7f44-43fd-895c-8e7b6a3746b0"/>
    <ds:schemaRef ds:uri="ead97cfe-a968-427f-b02b-893e6ba0355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0A84615-6D8B-4A8F-B9A5-3805127A3ACB}">
  <ds:schemaRefs>
    <ds:schemaRef ds:uri="c53071f4-7f44-43fd-895c-8e7b6a3746b0"/>
    <ds:schemaRef ds:uri="ead97cfe-a968-427f-b02b-893e6ba0355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39F3FD5-8BE4-4C63-8E08-C5A7A17FEE7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9</TotalTime>
  <Words>1696</Words>
  <Application>Microsoft Office PowerPoint</Application>
  <PresentationFormat>Widescreen</PresentationFormat>
  <Paragraphs>215</Paragraphs>
  <Slides>2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4" baseType="lpstr">
      <vt:lpstr>Arial</vt:lpstr>
      <vt:lpstr>Arial Black</vt:lpstr>
      <vt:lpstr>Calibri</vt:lpstr>
      <vt:lpstr>Roboto</vt:lpstr>
      <vt:lpstr>Times New Roman</vt:lpstr>
      <vt:lpstr>Office Theme</vt:lpstr>
      <vt:lpstr>Custom Design</vt:lpstr>
      <vt:lpstr>1_Custom Design</vt:lpstr>
      <vt:lpstr>3_Custom Design</vt:lpstr>
      <vt:lpstr>think-cell Slide</vt:lpstr>
      <vt:lpstr>Enzymic browning</vt:lpstr>
      <vt:lpstr>Introduction</vt:lpstr>
      <vt:lpstr>The science of Enzymic browning</vt:lpstr>
      <vt:lpstr>Enzymic browning vs non-enzymic browning</vt:lpstr>
      <vt:lpstr>Desirable enzymic browning</vt:lpstr>
      <vt:lpstr>Preventing unwanted browning</vt:lpstr>
      <vt:lpstr>Enzymes, temperature and pH</vt:lpstr>
      <vt:lpstr>Blanching</vt:lpstr>
      <vt:lpstr>Refrigeration and freezing</vt:lpstr>
      <vt:lpstr>Acidulation</vt:lpstr>
      <vt:lpstr>Key words </vt:lpstr>
      <vt:lpstr>Key words </vt:lpstr>
      <vt:lpstr>Teacher’s guide</vt:lpstr>
      <vt:lpstr>Teaching about enzymic browning: </vt:lpstr>
      <vt:lpstr>Introduction</vt:lpstr>
      <vt:lpstr>The science of enzymic browning </vt:lpstr>
      <vt:lpstr>Preventing enzymic browning</vt:lpstr>
      <vt:lpstr>Blanching</vt:lpstr>
      <vt:lpstr>Refrigeration and freezing</vt:lpstr>
      <vt:lpstr>Acidulation</vt:lpstr>
      <vt:lpstr>Desirable enzymic browning</vt:lpstr>
      <vt:lpstr>Enzymic browning - resources</vt:lpstr>
      <vt:lpstr>Enzymic browning - recipes</vt:lpstr>
      <vt:lpstr>Enzymic browni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 social!</dc:title>
  <dc:creator>Glenn Carter</dc:creator>
  <cp:lastModifiedBy>Frances Meek</cp:lastModifiedBy>
  <cp:revision>1</cp:revision>
  <dcterms:created xsi:type="dcterms:W3CDTF">2018-10-10T09:22:08Z</dcterms:created>
  <dcterms:modified xsi:type="dcterms:W3CDTF">2022-08-30T11:49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D5B78CA333243439763E4169A5FEB7F</vt:lpwstr>
  </property>
  <property fmtid="{D5CDD505-2E9C-101B-9397-08002B2CF9AE}" pid="3" name="Order">
    <vt:r8>551200</vt:r8>
  </property>
  <property fmtid="{D5CDD505-2E9C-101B-9397-08002B2CF9AE}" pid="4" name="_ExtendedDescription">
    <vt:lpwstr/>
  </property>
  <property fmtid="{D5CDD505-2E9C-101B-9397-08002B2CF9AE}" pid="5" name="ComplianceAssetId">
    <vt:lpwstr/>
  </property>
  <property fmtid="{D5CDD505-2E9C-101B-9397-08002B2CF9AE}" pid="6" name="TriggerFlowInfo">
    <vt:lpwstr/>
  </property>
  <property fmtid="{D5CDD505-2E9C-101B-9397-08002B2CF9AE}" pid="7" name="MediaServiceImageTags">
    <vt:lpwstr/>
  </property>
</Properties>
</file>